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9" r:id="rId1"/>
  </p:sldMasterIdLst>
  <p:notesMasterIdLst>
    <p:notesMasterId r:id="rId21"/>
  </p:notesMasterIdLst>
  <p:sldIdLst>
    <p:sldId id="256" r:id="rId2"/>
    <p:sldId id="257" r:id="rId3"/>
    <p:sldId id="1405" r:id="rId4"/>
    <p:sldId id="258" r:id="rId5"/>
    <p:sldId id="259" r:id="rId6"/>
    <p:sldId id="1377" r:id="rId7"/>
    <p:sldId id="1392" r:id="rId8"/>
    <p:sldId id="1393" r:id="rId9"/>
    <p:sldId id="1394" r:id="rId10"/>
    <p:sldId id="1356" r:id="rId11"/>
    <p:sldId id="1395" r:id="rId12"/>
    <p:sldId id="284" r:id="rId13"/>
    <p:sldId id="1400" r:id="rId14"/>
    <p:sldId id="283" r:id="rId15"/>
    <p:sldId id="1403" r:id="rId16"/>
    <p:sldId id="1396" r:id="rId17"/>
    <p:sldId id="1404" r:id="rId18"/>
    <p:sldId id="1402" r:id="rId19"/>
    <p:sldId id="280" r:id="rId20"/>
  </p:sldIdLst>
  <p:sldSz cx="12192000" cy="6858000"/>
  <p:notesSz cx="6858000" cy="9144000"/>
  <p:defaultTextStyle>
    <a:defPPr>
      <a:defRPr lang="es-ES_trad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5E0C"/>
    <a:srgbClr val="EAEAEA"/>
    <a:srgbClr val="173A6F"/>
    <a:srgbClr val="E6510B"/>
    <a:srgbClr val="4D79BE"/>
    <a:srgbClr val="4EB200"/>
    <a:srgbClr val="FFA140"/>
    <a:srgbClr val="EEEEEE"/>
    <a:srgbClr val="DFDDDD"/>
    <a:srgbClr val="F39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20823D-A23B-4470-BBCF-A35B73B54406}" v="3118" dt="2018-11-15T17:23:07.7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418" autoAdjust="0"/>
    <p:restoredTop sz="96240"/>
  </p:normalViewPr>
  <p:slideViewPr>
    <p:cSldViewPr snapToGrid="0" snapToObjects="1">
      <p:cViewPr varScale="1">
        <p:scale>
          <a:sx n="111" d="100"/>
          <a:sy n="111" d="100"/>
        </p:scale>
        <p:origin x="43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D2BF2D-AF9D-452D-B70C-DB0E55091BCA}" type="datetimeFigureOut">
              <a:rPr lang="es-ES" smtClean="0"/>
              <a:t>16/11/2018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05F304-7E10-4F70-8373-D13C2160BF8C}" type="slidenum">
              <a:rPr lang="es-ES" smtClean="0"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34125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image" Target="../media/image3.png"/><Relationship Id="rId2" Type="http://schemas.openxmlformats.org/officeDocument/2006/relationships/tags" Target="../tags/tag1.xml"/><Relationship Id="rId16" Type="http://schemas.openxmlformats.org/officeDocument/2006/relationships/image" Target="../media/image2.jpe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image" Target="../media/image1.emf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5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4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image" Target="../media/image1.emf"/><Relationship Id="rId5" Type="http://schemas.openxmlformats.org/officeDocument/2006/relationships/tags" Target="../tags/tag18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7.xml"/><Relationship Id="rId9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tags" Target="../tags/tag26.xml"/><Relationship Id="rId11" Type="http://schemas.openxmlformats.org/officeDocument/2006/relationships/image" Target="../media/image2.jpeg"/><Relationship Id="rId5" Type="http://schemas.openxmlformats.org/officeDocument/2006/relationships/tags" Target="../tags/tag25.xml"/><Relationship Id="rId10" Type="http://schemas.openxmlformats.org/officeDocument/2006/relationships/image" Target="../media/image1.emf"/><Relationship Id="rId4" Type="http://schemas.openxmlformats.org/officeDocument/2006/relationships/tags" Target="../tags/tag24.xml"/><Relationship Id="rId9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image" Target="../media/image7.jpeg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image" Target="../media/image6.png"/><Relationship Id="rId2" Type="http://schemas.openxmlformats.org/officeDocument/2006/relationships/tags" Target="../tags/tag28.xml"/><Relationship Id="rId1" Type="http://schemas.openxmlformats.org/officeDocument/2006/relationships/vmlDrawing" Target="../drawings/vmlDrawing5.vml"/><Relationship Id="rId6" Type="http://schemas.openxmlformats.org/officeDocument/2006/relationships/tags" Target="../tags/tag32.xml"/><Relationship Id="rId11" Type="http://schemas.openxmlformats.org/officeDocument/2006/relationships/image" Target="../media/image1.emf"/><Relationship Id="rId5" Type="http://schemas.openxmlformats.org/officeDocument/2006/relationships/tags" Target="../tags/tag31.xml"/><Relationship Id="rId10" Type="http://schemas.openxmlformats.org/officeDocument/2006/relationships/oleObject" Target="../embeddings/oleObject5.bin"/><Relationship Id="rId4" Type="http://schemas.openxmlformats.org/officeDocument/2006/relationships/tags" Target="../tags/tag30.xml"/><Relationship Id="rId9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image" Target="../media/image6.png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image" Target="../media/image8.jpeg"/><Relationship Id="rId2" Type="http://schemas.openxmlformats.org/officeDocument/2006/relationships/tags" Target="../tags/tag35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image" Target="../media/image3.png"/><Relationship Id="rId2" Type="http://schemas.openxmlformats.org/officeDocument/2006/relationships/tags" Target="../tags/tag47.xml"/><Relationship Id="rId16" Type="http://schemas.openxmlformats.org/officeDocument/2006/relationships/image" Target="../media/image2.jpeg"/><Relationship Id="rId1" Type="http://schemas.openxmlformats.org/officeDocument/2006/relationships/vmlDrawing" Target="../drawings/vmlDrawing7.v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tags" Target="../tags/tag50.xml"/><Relationship Id="rId15" Type="http://schemas.openxmlformats.org/officeDocument/2006/relationships/image" Target="../media/image1.emf"/><Relationship Id="rId10" Type="http://schemas.openxmlformats.org/officeDocument/2006/relationships/tags" Target="../tags/tag55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image" Target="../media/image5.png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image" Target="../media/image4.jpeg"/><Relationship Id="rId2" Type="http://schemas.openxmlformats.org/officeDocument/2006/relationships/tags" Target="../tags/tag58.xml"/><Relationship Id="rId1" Type="http://schemas.openxmlformats.org/officeDocument/2006/relationships/vmlDrawing" Target="../drawings/vmlDrawing8.vml"/><Relationship Id="rId6" Type="http://schemas.openxmlformats.org/officeDocument/2006/relationships/tags" Target="../tags/tag62.xml"/><Relationship Id="rId11" Type="http://schemas.openxmlformats.org/officeDocument/2006/relationships/image" Target="../media/image1.emf"/><Relationship Id="rId5" Type="http://schemas.openxmlformats.org/officeDocument/2006/relationships/tags" Target="../tags/tag61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0.xml"/><Relationship Id="rId9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image" Target="../media/image3.png"/><Relationship Id="rId2" Type="http://schemas.openxmlformats.org/officeDocument/2006/relationships/tags" Target="../tags/tag65.xml"/><Relationship Id="rId1" Type="http://schemas.openxmlformats.org/officeDocument/2006/relationships/vmlDrawing" Target="../drawings/vmlDrawing9.vml"/><Relationship Id="rId6" Type="http://schemas.openxmlformats.org/officeDocument/2006/relationships/tags" Target="../tags/tag69.xml"/><Relationship Id="rId11" Type="http://schemas.openxmlformats.org/officeDocument/2006/relationships/image" Target="../media/image2.jpeg"/><Relationship Id="rId5" Type="http://schemas.openxmlformats.org/officeDocument/2006/relationships/tags" Target="../tags/tag68.xml"/><Relationship Id="rId10" Type="http://schemas.openxmlformats.org/officeDocument/2006/relationships/image" Target="../media/image1.emf"/><Relationship Id="rId4" Type="http://schemas.openxmlformats.org/officeDocument/2006/relationships/tags" Target="../tags/tag67.xml"/><Relationship Id="rId9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7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5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9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image" Target="../media/image9.jpeg"/><Relationship Id="rId2" Type="http://schemas.openxmlformats.org/officeDocument/2006/relationships/tags" Target="../tags/tag7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0.xml"/><Relationship Id="rId11" Type="http://schemas.openxmlformats.org/officeDocument/2006/relationships/image" Target="../media/image6.png"/><Relationship Id="rId5" Type="http://schemas.openxmlformats.org/officeDocument/2006/relationships/tags" Target="../tags/tag79.xml"/><Relationship Id="rId10" Type="http://schemas.openxmlformats.org/officeDocument/2006/relationships/image" Target="../media/image1.emf"/><Relationship Id="rId4" Type="http://schemas.openxmlformats.org/officeDocument/2006/relationships/tags" Target="../tags/tag78.xml"/><Relationship Id="rId9" Type="http://schemas.openxmlformats.org/officeDocument/2006/relationships/oleObject" Target="../embeddings/oleObject1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7A9F9-AFD6-764B-9888-744A9E41F763}" type="datetimeFigureOut">
              <a:rPr lang="es-ES_tradnl" smtClean="0"/>
              <a:t>16/11/2018</a:t>
            </a:fld>
            <a:endParaRPr lang="es-ES_trad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1CEA8-D2B7-7642-8FD5-ABC79F979024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0825222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7A9F9-AFD6-764B-9888-744A9E41F763}" type="datetimeFigureOut">
              <a:rPr lang="es-ES_tradnl" smtClean="0"/>
              <a:t>16/11/2018</a:t>
            </a:fld>
            <a:endParaRPr lang="es-ES_trad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1CEA8-D2B7-7642-8FD5-ABC79F979024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8981579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7A9F9-AFD6-764B-9888-744A9E41F763}" type="datetimeFigureOut">
              <a:rPr lang="es-ES_tradnl" smtClean="0"/>
              <a:t>16/11/2018</a:t>
            </a:fld>
            <a:endParaRPr lang="es-ES_trad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1CEA8-D2B7-7642-8FD5-ABC79F979024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678026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12192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2451100" y="3383285"/>
            <a:ext cx="9740901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3084112" y="1690691"/>
            <a:ext cx="7777480" cy="1470025"/>
          </a:xfrm>
        </p:spPr>
        <p:txBody>
          <a:bodyPr/>
          <a:lstStyle>
            <a:lvl1pPr algn="l">
              <a:defRPr sz="2700"/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084112" y="3467105"/>
            <a:ext cx="7802880" cy="619125"/>
          </a:xfrm>
        </p:spPr>
        <p:txBody>
          <a:bodyPr lIns="0" tIns="0" rIns="0" bIns="0"/>
          <a:lstStyle>
            <a:lvl1pPr marL="0" indent="0" algn="l">
              <a:buNone/>
              <a:defRPr sz="1350" b="0">
                <a:solidFill>
                  <a:schemeClr val="accent6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084112" y="4248150"/>
            <a:ext cx="4292600" cy="361950"/>
          </a:xfrm>
        </p:spPr>
        <p:txBody>
          <a:bodyPr lIns="0" tIns="0" rIns="0" bIns="0" anchor="ctr"/>
          <a:lstStyle>
            <a:lvl1pPr marL="0" indent="0" algn="l">
              <a:buNone/>
              <a:defRPr sz="105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1" y="0"/>
            <a:ext cx="2652075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409699" y="-484331"/>
            <a:ext cx="4061773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50" dirty="0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50" dirty="0">
                <a:solidFill>
                  <a:schemeClr val="lt1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9"/>
            <a:ext cx="12192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/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7330999" y="5557688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457" y="5666307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4" y="4617725"/>
            <a:ext cx="12192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1062154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84146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ido,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636907" y="5"/>
            <a:ext cx="11555095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92201" y="433517"/>
            <a:ext cx="10317699" cy="748669"/>
          </a:xfrm>
        </p:spPr>
        <p:txBody>
          <a:bodyPr/>
          <a:lstStyle>
            <a:lvl1pPr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469900" y="-398782"/>
            <a:ext cx="1310768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50" dirty="0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50" dirty="0">
                <a:solidFill>
                  <a:schemeClr val="lt1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24298"/>
            <a:ext cx="9385300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Candara"/>
              <a:sym typeface="Candara"/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924929" y="6197601"/>
            <a:ext cx="2484971" cy="667386"/>
            <a:chOff x="6855280" y="6288821"/>
            <a:chExt cx="1703774" cy="576165"/>
          </a:xfrm>
        </p:grpSpPr>
        <p:pic>
          <p:nvPicPr>
            <p:cNvPr id="16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855280" y="6288821"/>
              <a:ext cx="618324" cy="576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7" descr="http://www.mininterior.gov.co/sites/default/files/galeria-imagenes/2014-logo_web_eslogan.png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5909" y="6363329"/>
              <a:ext cx="973145" cy="465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879149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4" y="0"/>
            <a:ext cx="280881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166536" y="3683000"/>
            <a:ext cx="7941733" cy="1016000"/>
          </a:xfrm>
        </p:spPr>
        <p:txBody>
          <a:bodyPr anchor="t"/>
          <a:lstStyle>
            <a:lvl1pPr algn="l">
              <a:defRPr sz="2400" b="1" cap="none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 rotWithShape="1">
          <a:blip r:embed="rId11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7144731" y="5811900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7191" y="5920519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 userDrawn="1">
            <p:custDataLst>
              <p:tags r:id="rId7"/>
            </p:custDataLst>
          </p:nvPr>
        </p:nvGrpSpPr>
        <p:grpSpPr>
          <a:xfrm>
            <a:off x="521358" y="4632338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50" dirty="0">
                <a:solidFill>
                  <a:schemeClr val="lt1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50" dirty="0">
                <a:solidFill>
                  <a:schemeClr val="l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36741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636906" y="3"/>
            <a:ext cx="11555095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92200" y="433515"/>
            <a:ext cx="9758384" cy="748669"/>
          </a:xfrm>
        </p:spPr>
        <p:txBody>
          <a:bodyPr/>
          <a:lstStyle>
            <a:lvl1pPr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469900" y="-398782"/>
            <a:ext cx="1310768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50" dirty="0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50" dirty="0">
                <a:solidFill>
                  <a:schemeClr val="lt1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14773"/>
            <a:ext cx="9385300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Candara"/>
              <a:sym typeface="Candara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8630879" y="5919471"/>
            <a:ext cx="3133672" cy="872485"/>
            <a:chOff x="6473159" y="5919468"/>
            <a:chExt cx="2350254" cy="872485"/>
          </a:xfrm>
        </p:grpSpPr>
        <p:pic>
          <p:nvPicPr>
            <p:cNvPr id="13" name="Picture 12"/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2664" y="5919468"/>
              <a:ext cx="1860749" cy="872485"/>
            </a:xfrm>
            <a:prstGeom prst="rect">
              <a:avLst/>
            </a:prstGeom>
          </p:spPr>
        </p:pic>
        <p:pic>
          <p:nvPicPr>
            <p:cNvPr id="15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 rotWithShape="1">
            <a:blip r:embed="rId13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473159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3294081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527052" y="6494408"/>
            <a:ext cx="2677581" cy="13500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pPr defTabSz="914333"/>
            <a:r>
              <a:rPr lang="en-GB">
                <a:solidFill>
                  <a:prstClr val="black"/>
                </a:solidFill>
              </a:rPr>
              <a:t>31/03/2017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85251" y="6498175"/>
            <a:ext cx="2679700" cy="1357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pPr defTabSz="914333"/>
            <a:fld id="{2490C926-4C7A-4456-B603-8FB00524CD8E}" type="slidenum">
              <a:rPr lang="en-GB" smtClean="0">
                <a:solidFill>
                  <a:prstClr val="black"/>
                </a:solidFill>
              </a:rPr>
              <a:pPr defTabSz="914333"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6653" y="414965"/>
            <a:ext cx="11128299" cy="390453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2200" b="1" baseline="0"/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36653" y="908482"/>
            <a:ext cx="11128299" cy="355059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  <a:p>
            <a:pPr lvl="0"/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27051" y="1568453"/>
            <a:ext cx="11137900" cy="4684183"/>
          </a:xfrm>
          <a:prstGeom prst="rect">
            <a:avLst/>
          </a:prstGeom>
        </p:spPr>
        <p:txBody>
          <a:bodyPr/>
          <a:lstStyle>
            <a:lvl1pPr>
              <a:spcBef>
                <a:spcPts val="300"/>
              </a:spcBef>
              <a:spcAft>
                <a:spcPts val="600"/>
              </a:spcAft>
              <a:defRPr sz="1600"/>
            </a:lvl1pPr>
            <a:lvl2pPr>
              <a:spcBef>
                <a:spcPts val="300"/>
              </a:spcBef>
              <a:spcAft>
                <a:spcPts val="600"/>
              </a:spcAft>
              <a:defRPr sz="1400"/>
            </a:lvl2pPr>
            <a:lvl3pPr>
              <a:spcBef>
                <a:spcPts val="300"/>
              </a:spcBef>
              <a:spcAft>
                <a:spcPts val="600"/>
              </a:spcAft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298626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>
          <a:xfrm>
            <a:off x="1" y="4619627"/>
            <a:ext cx="12192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350" dirty="0"/>
          </a:p>
        </p:txBody>
      </p:sp>
      <p:sp>
        <p:nvSpPr>
          <p:cNvPr id="15" name="Rectangle 14"/>
          <p:cNvSpPr/>
          <p:nvPr userDrawn="1">
            <p:custDataLst>
              <p:tags r:id="rId4"/>
            </p:custDataLst>
          </p:nvPr>
        </p:nvSpPr>
        <p:spPr>
          <a:xfrm>
            <a:off x="1" y="-9524"/>
            <a:ext cx="12192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7" name="Rectangle 16"/>
          <p:cNvSpPr/>
          <p:nvPr userDrawn="1">
            <p:custDataLst>
              <p:tags r:id="rId5"/>
            </p:custDataLst>
          </p:nvPr>
        </p:nvSpPr>
        <p:spPr>
          <a:xfrm>
            <a:off x="2451100" y="3383283"/>
            <a:ext cx="9740901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3084112" y="1690689"/>
            <a:ext cx="7777480" cy="1470025"/>
          </a:xfrm>
        </p:spPr>
        <p:txBody>
          <a:bodyPr/>
          <a:lstStyle>
            <a:lvl1pPr algn="l">
              <a:defRPr sz="2700"/>
            </a:lvl1pPr>
          </a:lstStyle>
          <a:p>
            <a:r>
              <a:rPr lang="en-US"/>
              <a:t>Click to edit Master title style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084112" y="3467103"/>
            <a:ext cx="7802880" cy="619125"/>
          </a:xfrm>
        </p:spPr>
        <p:txBody>
          <a:bodyPr lIns="0" tIns="0" rIns="0" bIns="0"/>
          <a:lstStyle>
            <a:lvl1pPr marL="0" indent="0" algn="l">
              <a:buNone/>
              <a:defRPr sz="1350" b="0">
                <a:solidFill>
                  <a:schemeClr val="accent6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3084112" y="4181475"/>
            <a:ext cx="4292600" cy="361950"/>
          </a:xfrm>
        </p:spPr>
        <p:txBody>
          <a:bodyPr lIns="0" tIns="0" rIns="0" bIns="0" anchor="ctr"/>
          <a:lstStyle>
            <a:lvl1pPr marL="0" indent="0" algn="l">
              <a:buNone/>
              <a:defRPr sz="105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9"/>
            </p:custDataLst>
          </p:nvPr>
        </p:nvSpPr>
        <p:spPr>
          <a:xfrm>
            <a:off x="1" y="0"/>
            <a:ext cx="2652075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grpSp>
        <p:nvGrpSpPr>
          <p:cNvPr id="22" name="Group 21"/>
          <p:cNvGrpSpPr/>
          <p:nvPr userDrawn="1">
            <p:custDataLst>
              <p:tags r:id="rId10"/>
            </p:custDataLst>
          </p:nvPr>
        </p:nvGrpSpPr>
        <p:grpSpPr>
          <a:xfrm>
            <a:off x="-1409699" y="-484331"/>
            <a:ext cx="4061773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50" dirty="0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50" dirty="0">
                <a:solidFill>
                  <a:schemeClr val="lt1"/>
                </a:solidFill>
              </a:endParaRPr>
            </a:p>
          </p:txBody>
        </p:sp>
      </p:grpSp>
      <p:sp>
        <p:nvSpPr>
          <p:cNvPr id="25" name="Rectangle 24"/>
          <p:cNvSpPr/>
          <p:nvPr userDrawn="1">
            <p:custDataLst>
              <p:tags r:id="rId11"/>
            </p:custDataLst>
          </p:nvPr>
        </p:nvSpPr>
        <p:spPr>
          <a:xfrm>
            <a:off x="2" y="4617723"/>
            <a:ext cx="12192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atin typeface="Candara"/>
              <a:sym typeface="Candara"/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6561373" y="5053846"/>
            <a:ext cx="5224519" cy="1453840"/>
            <a:chOff x="4921028" y="5053846"/>
            <a:chExt cx="3918389" cy="1453840"/>
          </a:xfrm>
        </p:grpSpPr>
        <p:pic>
          <p:nvPicPr>
            <p:cNvPr id="23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12"/>
              </p:custDataLst>
            </p:nvPr>
          </p:nvPicPr>
          <p:blipFill rotWithShape="1">
            <a:blip r:embed="rId17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4921028" y="5467432"/>
              <a:ext cx="718653" cy="709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23"/>
            <p:cNvPicPr>
              <a:picLocks noChangeAspect="1"/>
            </p:cNvPicPr>
            <p:nvPr userDrawn="1">
              <p:custDataLst>
                <p:tags r:id="rId13"/>
              </p:custDataLst>
            </p:nvPr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8813" y="5053846"/>
              <a:ext cx="3100604" cy="14538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04684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12192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2451100" y="3383285"/>
            <a:ext cx="9740901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3084112" y="1690691"/>
            <a:ext cx="7777480" cy="1470025"/>
          </a:xfrm>
        </p:spPr>
        <p:txBody>
          <a:bodyPr/>
          <a:lstStyle>
            <a:lvl1pPr algn="l">
              <a:defRPr sz="2700"/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084112" y="3467105"/>
            <a:ext cx="7802880" cy="619125"/>
          </a:xfrm>
        </p:spPr>
        <p:txBody>
          <a:bodyPr lIns="0" tIns="0" rIns="0" bIns="0"/>
          <a:lstStyle>
            <a:lvl1pPr marL="0" indent="0" algn="l">
              <a:buNone/>
              <a:defRPr sz="1350" b="0">
                <a:solidFill>
                  <a:schemeClr val="accent6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084112" y="4248150"/>
            <a:ext cx="4292600" cy="361950"/>
          </a:xfrm>
        </p:spPr>
        <p:txBody>
          <a:bodyPr lIns="0" tIns="0" rIns="0" bIns="0" anchor="ctr"/>
          <a:lstStyle>
            <a:lvl1pPr marL="0" indent="0" algn="l">
              <a:buNone/>
              <a:defRPr sz="105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1" y="0"/>
            <a:ext cx="2652075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409699" y="-484331"/>
            <a:ext cx="4061773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9"/>
            <a:ext cx="12192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7330999" y="5557688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457" y="5666307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4" y="4617725"/>
            <a:ext cx="12192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547428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7A9F9-AFD6-764B-9888-744A9E41F763}" type="datetimeFigureOut">
              <a:rPr lang="es-ES_tradnl" smtClean="0"/>
              <a:t>16/11/2018</a:t>
            </a:fld>
            <a:endParaRPr lang="es-ES_trad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1CEA8-D2B7-7642-8FD5-ABC79F979024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701160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ido,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636907" y="5"/>
            <a:ext cx="11555095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92201" y="433517"/>
            <a:ext cx="10317699" cy="748669"/>
          </a:xfrm>
        </p:spPr>
        <p:txBody>
          <a:bodyPr/>
          <a:lstStyle>
            <a:lvl1pPr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469900" y="-398782"/>
            <a:ext cx="1310768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24298"/>
            <a:ext cx="9385300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924929" y="6197601"/>
            <a:ext cx="2484971" cy="667386"/>
            <a:chOff x="6855280" y="6288821"/>
            <a:chExt cx="1703774" cy="576165"/>
          </a:xfrm>
        </p:grpSpPr>
        <p:pic>
          <p:nvPicPr>
            <p:cNvPr id="16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855280" y="6288821"/>
              <a:ext cx="618324" cy="576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7" descr="http://www.mininterior.gov.co/sites/default/files/galeria-imagenes/2014-logo_web_eslogan.png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5909" y="6363329"/>
              <a:ext cx="973145" cy="465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674140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4" y="0"/>
            <a:ext cx="280881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166536" y="3683000"/>
            <a:ext cx="7941733" cy="1016000"/>
          </a:xfrm>
        </p:spPr>
        <p:txBody>
          <a:bodyPr anchor="t"/>
          <a:lstStyle>
            <a:lvl1pPr algn="l">
              <a:defRPr sz="2400" b="1" cap="none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 rotWithShape="1">
          <a:blip r:embed="rId11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7144731" y="5811900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7191" y="5920519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 userDrawn="1">
            <p:custDataLst>
              <p:tags r:id="rId7"/>
            </p:custDataLst>
          </p:nvPr>
        </p:nvGrpSpPr>
        <p:grpSpPr>
          <a:xfrm>
            <a:off x="521358" y="4632338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73013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5"/>
          <p:cNvSpPr>
            <a:spLocks noChangeArrowheads="1"/>
          </p:cNvSpPr>
          <p:nvPr userDrawn="1"/>
        </p:nvSpPr>
        <p:spPr bwMode="auto">
          <a:xfrm>
            <a:off x="4338038" y="982483"/>
            <a:ext cx="250453" cy="5078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sz="2700" b="1" spc="38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5" name="Rectángulo 5"/>
          <p:cNvSpPr>
            <a:spLocks noChangeArrowheads="1"/>
          </p:cNvSpPr>
          <p:nvPr userDrawn="1"/>
        </p:nvSpPr>
        <p:spPr bwMode="auto">
          <a:xfrm>
            <a:off x="2550993" y="404784"/>
            <a:ext cx="256865" cy="55399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sz="3000" b="1" spc="38" dirty="0">
                <a:ln w="11430"/>
                <a:solidFill>
                  <a:srgbClr val="1F497D">
                    <a:lumMod val="75000"/>
                  </a:srgbClr>
                </a:solidFill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3 Marcador de fecha"/>
          <p:cNvSpPr>
            <a:spLocks noGrp="1"/>
          </p:cNvSpPr>
          <p:nvPr>
            <p:ph type="dt" sz="half" idx="10"/>
          </p:nvPr>
        </p:nvSpPr>
        <p:spPr>
          <a:xfrm>
            <a:off x="609600" y="635636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5D2270-E326-45CC-A74C-B7529D1D1E01}" type="datetimeFigureOut">
              <a:rPr lang="es-CO">
                <a:solidFill>
                  <a:srgbClr val="386295"/>
                </a:solidFill>
              </a:rPr>
              <a:pPr>
                <a:defRPr/>
              </a:pPr>
              <a:t>16/11/2018</a:t>
            </a:fld>
            <a:endParaRPr lang="es-CO" dirty="0">
              <a:solidFill>
                <a:srgbClr val="386295"/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>
              <a:solidFill>
                <a:srgbClr val="386295"/>
              </a:solidFill>
            </a:endParaRPr>
          </a:p>
        </p:txBody>
      </p:sp>
      <p:sp>
        <p:nvSpPr>
          <p:cNvPr id="8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9B55C2-788E-4091-A131-A16F25D81A9B}" type="slidenum">
              <a:rPr lang="es-CO">
                <a:solidFill>
                  <a:srgbClr val="386295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386295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78007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5"/>
          <p:cNvSpPr>
            <a:spLocks noChangeArrowheads="1"/>
          </p:cNvSpPr>
          <p:nvPr userDrawn="1"/>
        </p:nvSpPr>
        <p:spPr bwMode="auto">
          <a:xfrm>
            <a:off x="4338039" y="982473"/>
            <a:ext cx="245260" cy="47583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92" b="1" spc="35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5" name="Rectángulo 5"/>
          <p:cNvSpPr>
            <a:spLocks noChangeArrowheads="1"/>
          </p:cNvSpPr>
          <p:nvPr userDrawn="1"/>
        </p:nvSpPr>
        <p:spPr bwMode="auto">
          <a:xfrm>
            <a:off x="2550995" y="404786"/>
            <a:ext cx="251672" cy="5184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769" b="1" spc="35" dirty="0">
                <a:ln w="11430"/>
                <a:solidFill>
                  <a:srgbClr val="1F497D">
                    <a:lumMod val="75000"/>
                  </a:srgbClr>
                </a:solidFill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3 Marcador de fecha"/>
          <p:cNvSpPr>
            <a:spLocks noGrp="1"/>
          </p:cNvSpPr>
          <p:nvPr>
            <p:ph type="dt" sz="half" idx="10"/>
          </p:nvPr>
        </p:nvSpPr>
        <p:spPr>
          <a:xfrm>
            <a:off x="609600" y="6356356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5D2270-E326-45CC-A74C-B7529D1D1E01}" type="datetimeFigureOut">
              <a:rPr lang="es-CO">
                <a:solidFill>
                  <a:srgbClr val="022B44">
                    <a:tint val="75000"/>
                  </a:srgbClr>
                </a:solidFill>
              </a:rPr>
              <a:pPr>
                <a:defRPr/>
              </a:pPr>
              <a:t>16/11/2018</a:t>
            </a:fld>
            <a:endParaRPr lang="es-CO" dirty="0">
              <a:solidFill>
                <a:srgbClr val="022B44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0" y="6356356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>
              <a:solidFill>
                <a:srgbClr val="022B44">
                  <a:tint val="75000"/>
                </a:srgbClr>
              </a:solidFill>
            </a:endParaRPr>
          </a:p>
        </p:txBody>
      </p:sp>
      <p:sp>
        <p:nvSpPr>
          <p:cNvPr id="8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9B55C2-788E-4091-A131-A16F25D81A9B}" type="slidenum">
              <a:rPr lang="es-CO">
                <a:solidFill>
                  <a:srgbClr val="022B44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022B4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47008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5"/>
          <p:cNvSpPr>
            <a:spLocks noChangeArrowheads="1"/>
          </p:cNvSpPr>
          <p:nvPr userDrawn="1"/>
        </p:nvSpPr>
        <p:spPr bwMode="auto">
          <a:xfrm>
            <a:off x="4338038" y="982472"/>
            <a:ext cx="250453" cy="5078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700" b="1" spc="38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5" name="Rectángulo 5"/>
          <p:cNvSpPr>
            <a:spLocks noChangeArrowheads="1"/>
          </p:cNvSpPr>
          <p:nvPr userDrawn="1"/>
        </p:nvSpPr>
        <p:spPr bwMode="auto">
          <a:xfrm>
            <a:off x="2550993" y="404784"/>
            <a:ext cx="256865" cy="55399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000" b="1" spc="38" dirty="0">
                <a:ln w="11430"/>
                <a:solidFill>
                  <a:srgbClr val="1F497D">
                    <a:lumMod val="75000"/>
                  </a:srgbClr>
                </a:solidFill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3 Marcador de fecha"/>
          <p:cNvSpPr>
            <a:spLocks noGrp="1"/>
          </p:cNvSpPr>
          <p:nvPr>
            <p:ph type="dt" sz="half" idx="10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5D2270-E326-45CC-A74C-B7529D1D1E01}" type="datetimeFigureOut">
              <a:rPr lang="es-CO">
                <a:solidFill>
                  <a:srgbClr val="022B44">
                    <a:tint val="75000"/>
                  </a:srgbClr>
                </a:solidFill>
              </a:rPr>
              <a:pPr>
                <a:defRPr/>
              </a:pPr>
              <a:t>16/11/2018</a:t>
            </a:fld>
            <a:endParaRPr lang="es-CO" dirty="0">
              <a:solidFill>
                <a:srgbClr val="022B44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>
              <a:solidFill>
                <a:srgbClr val="022B44">
                  <a:tint val="75000"/>
                </a:srgbClr>
              </a:solidFill>
            </a:endParaRPr>
          </a:p>
        </p:txBody>
      </p:sp>
      <p:sp>
        <p:nvSpPr>
          <p:cNvPr id="8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9B55C2-788E-4091-A131-A16F25D81A9B}" type="slidenum">
              <a:rPr lang="es-CO">
                <a:solidFill>
                  <a:srgbClr val="022B44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022B4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73978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200" b="1"/>
            </a:lvl1pPr>
            <a:lvl2pPr algn="just">
              <a:defRPr sz="1200"/>
            </a:lvl2pPr>
            <a:lvl3pPr algn="just">
              <a:defRPr sz="1200"/>
            </a:lvl3pPr>
            <a:lvl4pPr algn="just">
              <a:defRPr sz="1200"/>
            </a:lvl4pPr>
            <a:lvl5pPr algn="just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1722101" y="6492878"/>
            <a:ext cx="46989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338039" y="982473"/>
            <a:ext cx="264881" cy="5078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700" b="1" spc="38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2550993" y="404784"/>
            <a:ext cx="272895" cy="55399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000" b="1" spc="38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806790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66535" y="3683000"/>
            <a:ext cx="7941733" cy="1016000"/>
          </a:xfrm>
        </p:spPr>
        <p:txBody>
          <a:bodyPr anchor="t"/>
          <a:lstStyle>
            <a:lvl1pPr algn="l">
              <a:defRPr sz="24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2" y="0"/>
            <a:ext cx="2808817" cy="6858000"/>
          </a:xfrm>
          <a:prstGeom prst="rect">
            <a:avLst/>
          </a:prstGeom>
          <a:pattFill prst="dkDnDiag">
            <a:fgClr>
              <a:schemeClr val="accent5">
                <a:lumMod val="20000"/>
                <a:lumOff val="80000"/>
              </a:schemeClr>
            </a:fgClr>
            <a:bgClr>
              <a:schemeClr val="accent5">
                <a:lumMod val="40000"/>
                <a:lumOff val="6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grpSp>
        <p:nvGrpSpPr>
          <p:cNvPr id="13" name="Group 12"/>
          <p:cNvGrpSpPr/>
          <p:nvPr userDrawn="1">
            <p:custDataLst>
              <p:tags r:id="rId5"/>
            </p:custDataLst>
          </p:nvPr>
        </p:nvGrpSpPr>
        <p:grpSpPr>
          <a:xfrm>
            <a:off x="521357" y="4632336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4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50" dirty="0">
                <a:solidFill>
                  <a:schemeClr val="lt1"/>
                </a:solidFill>
              </a:endParaRPr>
            </a:p>
          </p:txBody>
        </p:sp>
        <p:sp>
          <p:nvSpPr>
            <p:cNvPr id="15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50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7678896" y="5651503"/>
            <a:ext cx="4096123" cy="1140453"/>
            <a:chOff x="6153800" y="5919468"/>
            <a:chExt cx="2350254" cy="872485"/>
          </a:xfrm>
        </p:grpSpPr>
        <p:pic>
          <p:nvPicPr>
            <p:cNvPr id="18" name="Picture 17"/>
            <p:cNvPicPr>
              <a:picLocks noChangeAspect="1"/>
            </p:cNvPicPr>
            <p:nvPr userDrawn="1">
              <p:custDataLst>
                <p:tags r:id="rId6"/>
              </p:custDataLst>
            </p:nvPr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9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4017292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7A9F9-AFD6-764B-9888-744A9E41F763}" type="datetimeFigureOut">
              <a:rPr lang="es-ES_tradnl" smtClean="0"/>
              <a:t>16/11/2018</a:t>
            </a:fld>
            <a:endParaRPr lang="es-ES_trad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1CEA8-D2B7-7642-8FD5-ABC79F979024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6475267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7A9F9-AFD6-764B-9888-744A9E41F763}" type="datetimeFigureOut">
              <a:rPr lang="es-ES_tradnl" smtClean="0"/>
              <a:t>16/11/2018</a:t>
            </a:fld>
            <a:endParaRPr lang="es-ES_trad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1CEA8-D2B7-7642-8FD5-ABC79F979024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6831537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7A9F9-AFD6-764B-9888-744A9E41F763}" type="datetimeFigureOut">
              <a:rPr lang="es-ES_tradnl" smtClean="0"/>
              <a:t>16/11/2018</a:t>
            </a:fld>
            <a:endParaRPr lang="es-ES_tradnl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1CEA8-D2B7-7642-8FD5-ABC79F979024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111234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7A9F9-AFD6-764B-9888-744A9E41F763}" type="datetimeFigureOut">
              <a:rPr lang="es-ES_tradnl" smtClean="0"/>
              <a:t>16/11/2018</a:t>
            </a:fld>
            <a:endParaRPr lang="es-ES_trad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1CEA8-D2B7-7642-8FD5-ABC79F979024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6422613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7A9F9-AFD6-764B-9888-744A9E41F763}" type="datetimeFigureOut">
              <a:rPr lang="es-ES_tradnl" smtClean="0"/>
              <a:t>16/11/2018</a:t>
            </a:fld>
            <a:endParaRPr lang="es-ES_tradnl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1CEA8-D2B7-7642-8FD5-ABC79F979024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2343046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7A9F9-AFD6-764B-9888-744A9E41F763}" type="datetimeFigureOut">
              <a:rPr lang="es-ES_tradnl" smtClean="0"/>
              <a:t>16/11/2018</a:t>
            </a:fld>
            <a:endParaRPr lang="es-ES_trad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1CEA8-D2B7-7642-8FD5-ABC79F979024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667267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_tradnl"/>
              <a:t>Arrastre la imagen al marcador de posición o haga clic en el icono para agregarl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7A9F9-AFD6-764B-9888-744A9E41F763}" type="datetimeFigureOut">
              <a:rPr lang="es-ES_tradnl" smtClean="0"/>
              <a:t>16/11/2018</a:t>
            </a:fld>
            <a:endParaRPr lang="es-ES_trad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1CEA8-D2B7-7642-8FD5-ABC79F979024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0779478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07A9F9-AFD6-764B-9888-744A9E41F763}" type="datetimeFigureOut">
              <a:rPr lang="es-ES_tradnl" smtClean="0"/>
              <a:t>16/11/2018</a:t>
            </a:fld>
            <a:endParaRPr lang="es-ES_trad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41CEA8-D2B7-7642-8FD5-ABC79F979024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58979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2029" y="6129160"/>
            <a:ext cx="4767942" cy="428830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2" t="16602" r="915"/>
          <a:stretch/>
        </p:blipFill>
        <p:spPr>
          <a:xfrm>
            <a:off x="0" y="-1"/>
            <a:ext cx="12192000" cy="5789641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482619" y="3307131"/>
            <a:ext cx="51475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2400" dirty="0">
                <a:solidFill>
                  <a:schemeClr val="bg1"/>
                </a:solidFill>
                <a:latin typeface="Avenir Roman" charset="0"/>
                <a:ea typeface="Avenir Roman" charset="0"/>
                <a:cs typeface="Avenir Roman" charset="0"/>
              </a:rPr>
              <a:t>Agencia Nacional de Infraestructura</a:t>
            </a:r>
            <a:endParaRPr lang="es-ES_tradnl" sz="2400" b="1" dirty="0">
              <a:solidFill>
                <a:schemeClr val="bg1"/>
              </a:solidFill>
              <a:latin typeface="Avenir Black" charset="0"/>
              <a:ea typeface="Avenir Black" charset="0"/>
              <a:cs typeface="Avenir Black" charset="0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072454B4-1FB7-4198-9929-533B3C1128BE}"/>
              </a:ext>
            </a:extLst>
          </p:cNvPr>
          <p:cNvSpPr/>
          <p:nvPr/>
        </p:nvSpPr>
        <p:spPr>
          <a:xfrm>
            <a:off x="2128903" y="3768796"/>
            <a:ext cx="185499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_tradnl" sz="2400" b="1" dirty="0">
                <a:solidFill>
                  <a:schemeClr val="bg1"/>
                </a:solidFill>
                <a:latin typeface="Avenir Black" charset="0"/>
                <a:ea typeface="Avenir Black" charset="0"/>
                <a:cs typeface="Avenir Black" charset="0"/>
              </a:rPr>
              <a:t>Louis Kleyn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956" y="1105788"/>
            <a:ext cx="4650888" cy="1929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9062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/>
          <p:cNvSpPr/>
          <p:nvPr/>
        </p:nvSpPr>
        <p:spPr>
          <a:xfrm>
            <a:off x="1524000" y="2660686"/>
            <a:ext cx="9144000" cy="43183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1" name="Rectángulo 10"/>
          <p:cNvSpPr/>
          <p:nvPr/>
        </p:nvSpPr>
        <p:spPr>
          <a:xfrm>
            <a:off x="4400720" y="-1"/>
            <a:ext cx="3390563" cy="121381"/>
          </a:xfrm>
          <a:prstGeom prst="rect">
            <a:avLst/>
          </a:prstGeom>
          <a:solidFill>
            <a:srgbClr val="173A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2" name="CuadroTexto 11"/>
          <p:cNvSpPr txBox="1"/>
          <p:nvPr/>
        </p:nvSpPr>
        <p:spPr>
          <a:xfrm>
            <a:off x="4542531" y="280956"/>
            <a:ext cx="310694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4800">
                <a:solidFill>
                  <a:srgbClr val="173A6F"/>
                </a:solidFill>
                <a:latin typeface="Avenir Light" charset="0"/>
                <a:ea typeface="Avenir Light" charset="0"/>
                <a:cs typeface="Avenir Light" charset="0"/>
              </a:rPr>
              <a:t>Contenido</a:t>
            </a:r>
            <a:endParaRPr lang="es-ES_tradnl" sz="4800" dirty="0">
              <a:solidFill>
                <a:srgbClr val="173A6F"/>
              </a:solidFill>
              <a:latin typeface="Avenir Light" charset="0"/>
              <a:ea typeface="Avenir Light" charset="0"/>
              <a:cs typeface="Avenir Light" charset="0"/>
            </a:endParaRPr>
          </a:p>
        </p:txBody>
      </p:sp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0F783276-0829-4709-9AD6-40646E2202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69847" y="1777107"/>
            <a:ext cx="8652306" cy="3165625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Contratos a cargo de la ANI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Estado actual contratos 4G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latin typeface="Avenir Medium" charset="0"/>
                <a:ea typeface="Avenir Medium" charset="0"/>
                <a:cs typeface="Avenir Medium" charset="0"/>
              </a:rPr>
              <a:t>Resultados de la gestión social y ambiental de la ANI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Estado actual de los principales indicadores 2018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Logros primeros 100 días 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Metas para el cuatrienio</a:t>
            </a:r>
          </a:p>
        </p:txBody>
      </p:sp>
    </p:spTree>
    <p:extLst>
      <p:ext uri="{BB962C8B-B14F-4D97-AF65-F5344CB8AC3E}">
        <p14:creationId xmlns:p14="http://schemas.microsoft.com/office/powerpoint/2010/main" val="7258460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>
            <a:extLst>
              <a:ext uri="{FF2B5EF4-FFF2-40B4-BE49-F238E27FC236}">
                <a16:creationId xmlns:a16="http://schemas.microsoft.com/office/drawing/2014/main" id="{B1990DE8-7B8F-487F-A06C-840ECC0EA6F6}"/>
              </a:ext>
            </a:extLst>
          </p:cNvPr>
          <p:cNvSpPr txBox="1"/>
          <p:nvPr/>
        </p:nvSpPr>
        <p:spPr>
          <a:xfrm>
            <a:off x="718744" y="1150012"/>
            <a:ext cx="85896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2000" dirty="0">
                <a:solidFill>
                  <a:srgbClr val="173A6F"/>
                </a:solidFill>
                <a:latin typeface="Avenir Roman"/>
                <a:ea typeface="Arial" charset="0"/>
                <a:cs typeface="Arial" charset="0"/>
              </a:rPr>
              <a:t>A través de las </a:t>
            </a:r>
            <a:r>
              <a:rPr lang="es-ES_tradnl" sz="2000">
                <a:solidFill>
                  <a:srgbClr val="173A6F"/>
                </a:solidFill>
                <a:latin typeface="Avenir Roman"/>
                <a:ea typeface="Arial" charset="0"/>
                <a:cs typeface="Arial" charset="0"/>
              </a:rPr>
              <a:t>concesiones se </a:t>
            </a:r>
            <a:r>
              <a:rPr lang="es-ES_tradnl" sz="2000" dirty="0">
                <a:solidFill>
                  <a:srgbClr val="173A6F"/>
                </a:solidFill>
                <a:latin typeface="Avenir Roman"/>
                <a:ea typeface="Arial" charset="0"/>
                <a:cs typeface="Arial" charset="0"/>
              </a:rPr>
              <a:t>han compensado:</a:t>
            </a:r>
            <a:endParaRPr lang="es-ES_tradnl" sz="2000" b="1" dirty="0">
              <a:solidFill>
                <a:srgbClr val="173A6F"/>
              </a:solidFill>
              <a:latin typeface="Avenir Black" charset="0"/>
              <a:ea typeface="Avenir Black" charset="0"/>
              <a:cs typeface="Avenir Black" charset="0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26D73FF5-6144-4D18-AAA5-4A5B099D4944}"/>
              </a:ext>
            </a:extLst>
          </p:cNvPr>
          <p:cNvSpPr/>
          <p:nvPr/>
        </p:nvSpPr>
        <p:spPr>
          <a:xfrm>
            <a:off x="0" y="1606916"/>
            <a:ext cx="12192000" cy="41080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1A1AE127-0768-4953-89EA-038B4FCBB3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6169" y="1765005"/>
            <a:ext cx="1193976" cy="1217803"/>
          </a:xfrm>
          <a:prstGeom prst="rect">
            <a:avLst/>
          </a:prstGeom>
        </p:spPr>
      </p:pic>
      <p:grpSp>
        <p:nvGrpSpPr>
          <p:cNvPr id="2" name="Agrupar 1"/>
          <p:cNvGrpSpPr/>
          <p:nvPr/>
        </p:nvGrpSpPr>
        <p:grpSpPr>
          <a:xfrm>
            <a:off x="5205437" y="1839754"/>
            <a:ext cx="1050878" cy="1068305"/>
            <a:chOff x="5205437" y="2503287"/>
            <a:chExt cx="1050878" cy="1068305"/>
          </a:xfrm>
        </p:grpSpPr>
        <p:sp>
          <p:nvSpPr>
            <p:cNvPr id="24" name="Elipse 23">
              <a:extLst>
                <a:ext uri="{FF2B5EF4-FFF2-40B4-BE49-F238E27FC236}">
                  <a16:creationId xmlns:a16="http://schemas.microsoft.com/office/drawing/2014/main" id="{EB221308-8019-4623-B388-B6488039C39E}"/>
                </a:ext>
              </a:extLst>
            </p:cNvPr>
            <p:cNvSpPr/>
            <p:nvPr/>
          </p:nvSpPr>
          <p:spPr>
            <a:xfrm>
              <a:off x="5205437" y="2522976"/>
              <a:ext cx="1050878" cy="1048616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23" name="Gráfico 22" descr="Conejo">
              <a:extLst>
                <a:ext uri="{FF2B5EF4-FFF2-40B4-BE49-F238E27FC236}">
                  <a16:creationId xmlns:a16="http://schemas.microsoft.com/office/drawing/2014/main" id="{96BD047A-DB14-4A5B-9B9D-748EFC0D66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273676" y="2503287"/>
              <a:ext cx="914400" cy="914400"/>
            </a:xfrm>
            <a:prstGeom prst="rect">
              <a:avLst/>
            </a:prstGeom>
          </p:spPr>
        </p:pic>
      </p:grpSp>
      <p:pic>
        <p:nvPicPr>
          <p:cNvPr id="25" name="Imagen 24">
            <a:extLst>
              <a:ext uri="{FF2B5EF4-FFF2-40B4-BE49-F238E27FC236}">
                <a16:creationId xmlns:a16="http://schemas.microsoft.com/office/drawing/2014/main" id="{4BF13FD4-73C8-4E6F-A8A7-BA81B033D3E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6300" y="1807301"/>
            <a:ext cx="1111037" cy="1133210"/>
          </a:xfrm>
          <a:prstGeom prst="rect">
            <a:avLst/>
          </a:prstGeom>
        </p:spPr>
      </p:pic>
      <p:sp>
        <p:nvSpPr>
          <p:cNvPr id="26" name="CuadroTexto 25">
            <a:extLst>
              <a:ext uri="{FF2B5EF4-FFF2-40B4-BE49-F238E27FC236}">
                <a16:creationId xmlns:a16="http://schemas.microsoft.com/office/drawing/2014/main" id="{9DCC8535-0E02-4661-ADEE-7CF350A2BB22}"/>
              </a:ext>
            </a:extLst>
          </p:cNvPr>
          <p:cNvSpPr txBox="1"/>
          <p:nvPr/>
        </p:nvSpPr>
        <p:spPr>
          <a:xfrm>
            <a:off x="3607238" y="3060457"/>
            <a:ext cx="430656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ES" b="1" dirty="0">
                <a:latin typeface="Avenir Black" charset="0"/>
                <a:ea typeface="Avenir Black" charset="0"/>
                <a:cs typeface="Avenir Black" charset="0"/>
              </a:rPr>
              <a:t>543 mil plantas en via de extinción, </a:t>
            </a:r>
            <a:r>
              <a:rPr lang="es-ES" dirty="0">
                <a:latin typeface="Avenir Roman" charset="0"/>
                <a:ea typeface="Avenir Roman" charset="0"/>
                <a:cs typeface="Avenir Roman" charset="0"/>
              </a:rPr>
              <a:t>especies nativas rescatadas/trasladadas.</a:t>
            </a:r>
          </a:p>
          <a:p>
            <a:pPr marL="0" lvl="1" algn="ctr"/>
            <a:endParaRPr lang="es-ES" dirty="0">
              <a:latin typeface="Avenir Roman" charset="0"/>
              <a:ea typeface="Avenir Roman" charset="0"/>
              <a:cs typeface="Avenir Roman" charset="0"/>
            </a:endParaRPr>
          </a:p>
          <a:p>
            <a:pPr marL="0" lvl="1" algn="ctr"/>
            <a:r>
              <a:rPr lang="es-ES" b="1" dirty="0">
                <a:latin typeface="Avenir Black" charset="0"/>
                <a:ea typeface="Avenir Black" charset="0"/>
                <a:cs typeface="Avenir Black" charset="0"/>
              </a:rPr>
              <a:t>8 mil ejemplares de fauna silvestre rescatadas/trasladadas</a:t>
            </a:r>
          </a:p>
          <a:p>
            <a:pPr marL="0" lvl="1" algn="ctr"/>
            <a:endParaRPr lang="es-ES" dirty="0">
              <a:latin typeface="Avenir Roman" charset="0"/>
              <a:ea typeface="Avenir Roman" charset="0"/>
              <a:cs typeface="Avenir Roman" charset="0"/>
            </a:endParaRPr>
          </a:p>
          <a:p>
            <a:pPr marL="0" lvl="1" algn="ctr"/>
            <a:r>
              <a:rPr lang="es-ES" b="1" dirty="0">
                <a:latin typeface="Avenir Black" charset="0"/>
                <a:ea typeface="Avenir Black" charset="0"/>
                <a:cs typeface="Avenir Black" charset="0"/>
              </a:rPr>
              <a:t>392 pasos de fauna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2F06789E-9303-4FEB-A7AF-2A0CB2829D1E}"/>
              </a:ext>
            </a:extLst>
          </p:cNvPr>
          <p:cNvSpPr txBox="1"/>
          <p:nvPr/>
        </p:nvSpPr>
        <p:spPr>
          <a:xfrm>
            <a:off x="811661" y="3060457"/>
            <a:ext cx="20250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ES" b="1" dirty="0">
                <a:latin typeface="Avenir Black" charset="0"/>
                <a:ea typeface="Avenir Black" charset="0"/>
                <a:cs typeface="Avenir Black" charset="0"/>
              </a:rPr>
              <a:t>12 mil hectáreas </a:t>
            </a:r>
            <a:r>
              <a:rPr lang="es-ES" dirty="0">
                <a:latin typeface="Avenir Roman" charset="0"/>
                <a:ea typeface="Avenir Roman" charset="0"/>
                <a:cs typeface="Avenir Roman" charset="0"/>
              </a:rPr>
              <a:t>compensadas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852971B2-9524-45D3-A6D0-E26C5FD70889}"/>
              </a:ext>
            </a:extLst>
          </p:cNvPr>
          <p:cNvSpPr txBox="1"/>
          <p:nvPr/>
        </p:nvSpPr>
        <p:spPr>
          <a:xfrm>
            <a:off x="8326029" y="3060457"/>
            <a:ext cx="36115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ES" b="1" dirty="0">
                <a:latin typeface="Avenir Black" charset="0"/>
                <a:ea typeface="Avenir Black" charset="0"/>
                <a:cs typeface="Avenir Black" charset="0"/>
              </a:rPr>
              <a:t>$52,000 millones invertid</a:t>
            </a:r>
            <a:r>
              <a:rPr lang="es-ES" dirty="0">
                <a:latin typeface="Avenir Roman" charset="0"/>
                <a:ea typeface="Avenir Roman" charset="0"/>
                <a:cs typeface="Avenir Roman" charset="0"/>
              </a:rPr>
              <a:t>os en compensaciones ambientales 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65655A7F-72AE-4D02-8164-9E2655EA4FD2}"/>
              </a:ext>
            </a:extLst>
          </p:cNvPr>
          <p:cNvSpPr txBox="1"/>
          <p:nvPr/>
        </p:nvSpPr>
        <p:spPr>
          <a:xfrm>
            <a:off x="718744" y="409929"/>
            <a:ext cx="91439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4000" b="1">
                <a:solidFill>
                  <a:srgbClr val="173A6F"/>
                </a:solidFill>
                <a:latin typeface="Avenir Black" charset="0"/>
                <a:ea typeface="Avenir Black" charset="0"/>
                <a:cs typeface="Avenir Black" charset="0"/>
              </a:rPr>
              <a:t>Gestión Ambiental</a:t>
            </a:r>
            <a:endParaRPr lang="es-ES_tradnl" sz="4000" b="1" dirty="0">
              <a:solidFill>
                <a:srgbClr val="173A6F"/>
              </a:solidFill>
              <a:latin typeface="Avenir Black" charset="0"/>
              <a:ea typeface="Avenir Black" charset="0"/>
              <a:cs typeface="Avenir Black" charset="0"/>
            </a:endParaRPr>
          </a:p>
        </p:txBody>
      </p:sp>
      <p:sp>
        <p:nvSpPr>
          <p:cNvPr id="15" name="Rectángulo 14"/>
          <p:cNvSpPr/>
          <p:nvPr/>
        </p:nvSpPr>
        <p:spPr>
          <a:xfrm>
            <a:off x="0" y="1143000"/>
            <a:ext cx="113016" cy="4572001"/>
          </a:xfrm>
          <a:prstGeom prst="rect">
            <a:avLst/>
          </a:prstGeom>
          <a:solidFill>
            <a:srgbClr val="173A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673114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entágono 11">
            <a:extLst>
              <a:ext uri="{FF2B5EF4-FFF2-40B4-BE49-F238E27FC236}">
                <a16:creationId xmlns:a16="http://schemas.microsoft.com/office/drawing/2014/main" id="{D8C8BB9C-D0E2-4673-BC50-48636DAFA029}"/>
              </a:ext>
            </a:extLst>
          </p:cNvPr>
          <p:cNvSpPr/>
          <p:nvPr/>
        </p:nvSpPr>
        <p:spPr>
          <a:xfrm>
            <a:off x="2753288" y="4287653"/>
            <a:ext cx="1215628" cy="1087159"/>
          </a:xfrm>
          <a:prstGeom prst="homePlate">
            <a:avLst>
              <a:gd name="adj" fmla="val 32467"/>
            </a:avLst>
          </a:prstGeom>
          <a:solidFill>
            <a:srgbClr val="006B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endParaRPr lang="es-ES" sz="1350" dirty="0">
              <a:solidFill>
                <a:prstClr val="white"/>
              </a:solidFill>
              <a:latin typeface="Roboto Thin"/>
            </a:endParaRPr>
          </a:p>
        </p:txBody>
      </p:sp>
      <p:sp>
        <p:nvSpPr>
          <p:cNvPr id="3" name="Pentágono 32">
            <a:extLst>
              <a:ext uri="{FF2B5EF4-FFF2-40B4-BE49-F238E27FC236}">
                <a16:creationId xmlns:a16="http://schemas.microsoft.com/office/drawing/2014/main" id="{142C2C64-72D1-40D1-9EA4-225E810B8931}"/>
              </a:ext>
            </a:extLst>
          </p:cNvPr>
          <p:cNvSpPr/>
          <p:nvPr/>
        </p:nvSpPr>
        <p:spPr>
          <a:xfrm>
            <a:off x="4222519" y="4300748"/>
            <a:ext cx="1215628" cy="1074062"/>
          </a:xfrm>
          <a:prstGeom prst="homePlate">
            <a:avLst>
              <a:gd name="adj" fmla="val 324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endParaRPr lang="es-ES" sz="1350" dirty="0">
              <a:solidFill>
                <a:prstClr val="white"/>
              </a:solidFill>
              <a:latin typeface="Roboto Thin"/>
            </a:endParaRPr>
          </a:p>
        </p:txBody>
      </p:sp>
      <p:sp>
        <p:nvSpPr>
          <p:cNvPr id="4" name="Pentágono 36">
            <a:extLst>
              <a:ext uri="{FF2B5EF4-FFF2-40B4-BE49-F238E27FC236}">
                <a16:creationId xmlns:a16="http://schemas.microsoft.com/office/drawing/2014/main" id="{96E9FB3F-608F-4682-A6DA-C9E46B605F6C}"/>
              </a:ext>
            </a:extLst>
          </p:cNvPr>
          <p:cNvSpPr/>
          <p:nvPr/>
        </p:nvSpPr>
        <p:spPr>
          <a:xfrm>
            <a:off x="5697703" y="4286461"/>
            <a:ext cx="1215629" cy="1088350"/>
          </a:xfrm>
          <a:prstGeom prst="homePlate">
            <a:avLst>
              <a:gd name="adj" fmla="val 32467"/>
            </a:avLst>
          </a:prstGeom>
          <a:solidFill>
            <a:srgbClr val="018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endParaRPr lang="es-ES" sz="1350" dirty="0">
              <a:solidFill>
                <a:prstClr val="white"/>
              </a:solidFill>
              <a:latin typeface="Roboto Thin"/>
            </a:endParaRPr>
          </a:p>
        </p:txBody>
      </p:sp>
      <p:sp>
        <p:nvSpPr>
          <p:cNvPr id="5" name="Pentágono 37">
            <a:extLst>
              <a:ext uri="{FF2B5EF4-FFF2-40B4-BE49-F238E27FC236}">
                <a16:creationId xmlns:a16="http://schemas.microsoft.com/office/drawing/2014/main" id="{79698C80-C7FB-4E24-8A07-14EB24BB8D6B}"/>
              </a:ext>
            </a:extLst>
          </p:cNvPr>
          <p:cNvSpPr/>
          <p:nvPr/>
        </p:nvSpPr>
        <p:spPr>
          <a:xfrm>
            <a:off x="7141931" y="4265031"/>
            <a:ext cx="1214438" cy="1109781"/>
          </a:xfrm>
          <a:prstGeom prst="homePlate">
            <a:avLst>
              <a:gd name="adj" fmla="val 324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endParaRPr lang="es-ES" sz="1350" dirty="0">
              <a:solidFill>
                <a:prstClr val="white"/>
              </a:solidFill>
              <a:latin typeface="Roboto Thin"/>
            </a:endParaRPr>
          </a:p>
        </p:txBody>
      </p:sp>
      <p:sp>
        <p:nvSpPr>
          <p:cNvPr id="6" name="30 CuadroTexto">
            <a:extLst>
              <a:ext uri="{FF2B5EF4-FFF2-40B4-BE49-F238E27FC236}">
                <a16:creationId xmlns:a16="http://schemas.microsoft.com/office/drawing/2014/main" id="{B7813F68-D3DA-41BB-80E7-95B7774172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37609" y="4631190"/>
            <a:ext cx="812006" cy="102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26739" tIns="13370" rIns="26739" bIns="13370">
            <a:spAutoFit/>
          </a:bodyPr>
          <a:lstStyle/>
          <a:p>
            <a:pPr defTabSz="636691">
              <a:lnSpc>
                <a:spcPts val="1650"/>
              </a:lnSpc>
              <a:spcBef>
                <a:spcPts val="450"/>
              </a:spcBef>
              <a:defRPr/>
            </a:pPr>
            <a:r>
              <a:rPr lang="es-ES" sz="1500" b="1" dirty="0">
                <a:solidFill>
                  <a:prstClr val="white"/>
                </a:solidFill>
                <a:latin typeface="Century Gothic" panose="020B0502020202020204" pitchFamily="34" charset="0"/>
              </a:rPr>
              <a:t> 26.966</a:t>
            </a:r>
          </a:p>
          <a:p>
            <a:pPr defTabSz="636691">
              <a:lnSpc>
                <a:spcPts val="1650"/>
              </a:lnSpc>
              <a:spcBef>
                <a:spcPts val="450"/>
              </a:spcBef>
              <a:defRPr/>
            </a:pPr>
            <a:r>
              <a:rPr lang="es-ES" sz="1200" b="1" dirty="0">
                <a:solidFill>
                  <a:prstClr val="white"/>
                </a:solidFill>
                <a:latin typeface="Century Gothic" panose="020B0502020202020204" pitchFamily="34" charset="0"/>
              </a:rPr>
              <a:t>EMPLEOS</a:t>
            </a:r>
            <a:br>
              <a:rPr lang="es-ES" sz="1500" b="1" dirty="0">
                <a:solidFill>
                  <a:prstClr val="white"/>
                </a:solidFill>
                <a:latin typeface="Century Gothic" panose="020B0502020202020204" pitchFamily="34" charset="0"/>
              </a:rPr>
            </a:br>
            <a:r>
              <a:rPr lang="es-ES" sz="1500" b="1" dirty="0">
                <a:solidFill>
                  <a:prstClr val="white"/>
                </a:solidFill>
                <a:latin typeface="Century Gothic" panose="020B0502020202020204" pitchFamily="34" charset="0"/>
              </a:rPr>
              <a:t> </a:t>
            </a:r>
          </a:p>
          <a:p>
            <a:pPr defTabSz="636691">
              <a:lnSpc>
                <a:spcPts val="1650"/>
              </a:lnSpc>
              <a:spcBef>
                <a:spcPts val="450"/>
              </a:spcBef>
              <a:defRPr/>
            </a:pPr>
            <a:endParaRPr lang="es-ES" sz="1200" dirty="0">
              <a:solidFill>
                <a:prstClr val="white"/>
              </a:solidFill>
              <a:latin typeface="Roboto Thin"/>
            </a:endParaRPr>
          </a:p>
        </p:txBody>
      </p:sp>
      <p:grpSp>
        <p:nvGrpSpPr>
          <p:cNvPr id="7" name="Grupo 7">
            <a:extLst>
              <a:ext uri="{FF2B5EF4-FFF2-40B4-BE49-F238E27FC236}">
                <a16:creationId xmlns:a16="http://schemas.microsoft.com/office/drawing/2014/main" id="{916B6FD9-0251-4CC7-976D-08C6CB63C886}"/>
              </a:ext>
            </a:extLst>
          </p:cNvPr>
          <p:cNvGrpSpPr>
            <a:grpSpLocks/>
          </p:cNvGrpSpPr>
          <p:nvPr/>
        </p:nvGrpSpPr>
        <p:grpSpPr bwMode="auto">
          <a:xfrm>
            <a:off x="2162738" y="3022017"/>
            <a:ext cx="945356" cy="3030898"/>
            <a:chOff x="629872" y="1863465"/>
            <a:chExt cx="1260000" cy="4041470"/>
          </a:xfrm>
          <a:solidFill>
            <a:srgbClr val="1AA4BE"/>
          </a:solidFill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C52D8514-0DBE-4724-976A-B734771C25D8}"/>
                </a:ext>
              </a:extLst>
            </p:cNvPr>
            <p:cNvSpPr/>
            <p:nvPr/>
          </p:nvSpPr>
          <p:spPr>
            <a:xfrm>
              <a:off x="1188461" y="3073221"/>
              <a:ext cx="155496" cy="2831714"/>
            </a:xfrm>
            <a:prstGeom prst="rect">
              <a:avLst/>
            </a:prstGeom>
            <a:solidFill>
              <a:srgbClr val="006B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>
                <a:defRPr/>
              </a:pPr>
              <a:endParaRPr lang="es-ES" sz="1350" dirty="0">
                <a:solidFill>
                  <a:prstClr val="white"/>
                </a:solidFill>
                <a:latin typeface="Roboto Thin"/>
              </a:endParaRPr>
            </a:p>
          </p:txBody>
        </p:sp>
        <p:sp>
          <p:nvSpPr>
            <p:cNvPr id="9" name="Conector 5">
              <a:extLst>
                <a:ext uri="{FF2B5EF4-FFF2-40B4-BE49-F238E27FC236}">
                  <a16:creationId xmlns:a16="http://schemas.microsoft.com/office/drawing/2014/main" id="{FFAC4F8A-AD16-4E13-B386-61EFDE795AE0}"/>
                </a:ext>
              </a:extLst>
            </p:cNvPr>
            <p:cNvSpPr/>
            <p:nvPr/>
          </p:nvSpPr>
          <p:spPr>
            <a:xfrm>
              <a:off x="629872" y="1863465"/>
              <a:ext cx="1260000" cy="1260560"/>
            </a:xfrm>
            <a:prstGeom prst="flowChartConnector">
              <a:avLst/>
            </a:prstGeom>
            <a:solidFill>
              <a:srgbClr val="006B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>
                <a:defRPr/>
              </a:pPr>
              <a:endParaRPr lang="es-ES" sz="1500" b="1" dirty="0">
                <a:solidFill>
                  <a:prstClr val="white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0" name="Grupo 9">
            <a:extLst>
              <a:ext uri="{FF2B5EF4-FFF2-40B4-BE49-F238E27FC236}">
                <a16:creationId xmlns:a16="http://schemas.microsoft.com/office/drawing/2014/main" id="{84B787C2-9B37-4DC6-809A-02FC0A51E914}"/>
              </a:ext>
            </a:extLst>
          </p:cNvPr>
          <p:cNvGrpSpPr/>
          <p:nvPr/>
        </p:nvGrpSpPr>
        <p:grpSpPr bwMode="auto">
          <a:xfrm>
            <a:off x="5108347" y="3044326"/>
            <a:ext cx="1016021" cy="3008589"/>
            <a:chOff x="5092280" y="1885532"/>
            <a:chExt cx="1354184" cy="4011452"/>
          </a:xfrm>
          <a:solidFill>
            <a:srgbClr val="75CED5"/>
          </a:solidFill>
        </p:grpSpPr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2868CD5D-CB5E-4E4D-9C2B-D5B93DE038DC}"/>
                </a:ext>
              </a:extLst>
            </p:cNvPr>
            <p:cNvSpPr/>
            <p:nvPr/>
          </p:nvSpPr>
          <p:spPr>
            <a:xfrm>
              <a:off x="5652134" y="3073523"/>
              <a:ext cx="152644" cy="2823461"/>
            </a:xfrm>
            <a:prstGeom prst="rect">
              <a:avLst/>
            </a:prstGeom>
            <a:solidFill>
              <a:srgbClr val="018C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>
                <a:defRPr/>
              </a:pPr>
              <a:endParaRPr lang="es-ES" sz="1350" dirty="0">
                <a:solidFill>
                  <a:prstClr val="white"/>
                </a:solidFill>
                <a:latin typeface="Roboto Thin"/>
              </a:endParaRPr>
            </a:p>
          </p:txBody>
        </p:sp>
        <p:sp>
          <p:nvSpPr>
            <p:cNvPr id="12" name="Conector 21">
              <a:extLst>
                <a:ext uri="{FF2B5EF4-FFF2-40B4-BE49-F238E27FC236}">
                  <a16:creationId xmlns:a16="http://schemas.microsoft.com/office/drawing/2014/main" id="{BC5A8ED0-9841-4D5E-9F1E-C7F11112891C}"/>
                </a:ext>
              </a:extLst>
            </p:cNvPr>
            <p:cNvSpPr/>
            <p:nvPr/>
          </p:nvSpPr>
          <p:spPr>
            <a:xfrm>
              <a:off x="5092280" y="1885532"/>
              <a:ext cx="1354184" cy="1260000"/>
            </a:xfrm>
            <a:prstGeom prst="flowChartConnector">
              <a:avLst/>
            </a:prstGeom>
            <a:solidFill>
              <a:srgbClr val="018C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>
                <a:defRPr/>
              </a:pPr>
              <a:endParaRPr lang="es-ES" sz="1350" dirty="0">
                <a:solidFill>
                  <a:prstClr val="white"/>
                </a:solidFill>
                <a:latin typeface="Roboto Thin"/>
              </a:endParaRPr>
            </a:p>
          </p:txBody>
        </p:sp>
      </p:grpSp>
      <p:grpSp>
        <p:nvGrpSpPr>
          <p:cNvPr id="13" name="Grupo 3">
            <a:extLst>
              <a:ext uri="{FF2B5EF4-FFF2-40B4-BE49-F238E27FC236}">
                <a16:creationId xmlns:a16="http://schemas.microsoft.com/office/drawing/2014/main" id="{D74B7D70-39E7-4CDC-8BBB-D6D1B9772917}"/>
              </a:ext>
            </a:extLst>
          </p:cNvPr>
          <p:cNvGrpSpPr>
            <a:grpSpLocks/>
          </p:cNvGrpSpPr>
          <p:nvPr/>
        </p:nvGrpSpPr>
        <p:grpSpPr bwMode="auto">
          <a:xfrm>
            <a:off x="6973501" y="3327216"/>
            <a:ext cx="108233" cy="2598737"/>
            <a:chOff x="7055985" y="2804649"/>
            <a:chExt cx="144256" cy="3464390"/>
          </a:xfrm>
        </p:grpSpPr>
        <p:sp>
          <p:nvSpPr>
            <p:cNvPr id="14" name="Rectángulo 13">
              <a:extLst>
                <a:ext uri="{FF2B5EF4-FFF2-40B4-BE49-F238E27FC236}">
                  <a16:creationId xmlns:a16="http://schemas.microsoft.com/office/drawing/2014/main" id="{37696CE5-9BE6-4A79-B13C-D5591F014C70}"/>
                </a:ext>
              </a:extLst>
            </p:cNvPr>
            <p:cNvSpPr/>
            <p:nvPr/>
          </p:nvSpPr>
          <p:spPr bwMode="auto">
            <a:xfrm>
              <a:off x="7055985" y="3627674"/>
              <a:ext cx="144256" cy="264136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>
                <a:defRPr/>
              </a:pPr>
              <a:endParaRPr lang="es-ES" sz="1350" dirty="0">
                <a:solidFill>
                  <a:prstClr val="white"/>
                </a:solidFill>
                <a:latin typeface="Roboto Thin"/>
              </a:endParaRPr>
            </a:p>
          </p:txBody>
        </p:sp>
        <p:sp>
          <p:nvSpPr>
            <p:cNvPr id="15" name="Shape 431">
              <a:extLst>
                <a:ext uri="{FF2B5EF4-FFF2-40B4-BE49-F238E27FC236}">
                  <a16:creationId xmlns:a16="http://schemas.microsoft.com/office/drawing/2014/main" id="{6DC4155A-D55C-49F2-A785-DD9CBA13FC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7068" y="2804649"/>
              <a:ext cx="56437" cy="55169"/>
            </a:xfrm>
            <a:custGeom>
              <a:avLst/>
              <a:gdLst>
                <a:gd name="T0" fmla="*/ 324609375 w 1662"/>
                <a:gd name="T1" fmla="*/ 390625 h 1662"/>
                <a:gd name="T2" fmla="*/ 257812500 w 1662"/>
                <a:gd name="T3" fmla="*/ 9765625 h 1662"/>
                <a:gd name="T4" fmla="*/ 200781250 w 1662"/>
                <a:gd name="T5" fmla="*/ 28906250 h 1662"/>
                <a:gd name="T6" fmla="*/ 143359375 w 1662"/>
                <a:gd name="T7" fmla="*/ 57812500 h 1662"/>
                <a:gd name="T8" fmla="*/ 95703125 w 1662"/>
                <a:gd name="T9" fmla="*/ 95703125 h 1662"/>
                <a:gd name="T10" fmla="*/ 57421875 w 1662"/>
                <a:gd name="T11" fmla="*/ 143359375 h 1662"/>
                <a:gd name="T12" fmla="*/ 28906250 w 1662"/>
                <a:gd name="T13" fmla="*/ 200781250 h 1662"/>
                <a:gd name="T14" fmla="*/ 9765625 w 1662"/>
                <a:gd name="T15" fmla="*/ 257812500 h 1662"/>
                <a:gd name="T16" fmla="*/ 390625 w 1662"/>
                <a:gd name="T17" fmla="*/ 324609375 h 1662"/>
                <a:gd name="T18" fmla="*/ 9765625 w 1662"/>
                <a:gd name="T19" fmla="*/ 391406250 h 1662"/>
                <a:gd name="T20" fmla="*/ 28906250 w 1662"/>
                <a:gd name="T21" fmla="*/ 458203125 h 1662"/>
                <a:gd name="T22" fmla="*/ 57421875 w 1662"/>
                <a:gd name="T23" fmla="*/ 505859375 h 1662"/>
                <a:gd name="T24" fmla="*/ 95703125 w 1662"/>
                <a:gd name="T25" fmla="*/ 553906250 h 1662"/>
                <a:gd name="T26" fmla="*/ 143359375 w 1662"/>
                <a:gd name="T27" fmla="*/ 601562500 h 1662"/>
                <a:gd name="T28" fmla="*/ 200781250 w 1662"/>
                <a:gd name="T29" fmla="*/ 630078125 h 1662"/>
                <a:gd name="T30" fmla="*/ 257812500 w 1662"/>
                <a:gd name="T31" fmla="*/ 649218750 h 1662"/>
                <a:gd name="T32" fmla="*/ 391406250 w 1662"/>
                <a:gd name="T33" fmla="*/ 649218750 h 1662"/>
                <a:gd name="T34" fmla="*/ 448828125 w 1662"/>
                <a:gd name="T35" fmla="*/ 630078125 h 1662"/>
                <a:gd name="T36" fmla="*/ 505859375 w 1662"/>
                <a:gd name="T37" fmla="*/ 601562500 h 1662"/>
                <a:gd name="T38" fmla="*/ 553515625 w 1662"/>
                <a:gd name="T39" fmla="*/ 553906250 h 1662"/>
                <a:gd name="T40" fmla="*/ 591796875 w 1662"/>
                <a:gd name="T41" fmla="*/ 505859375 h 1662"/>
                <a:gd name="T42" fmla="*/ 620312500 w 1662"/>
                <a:gd name="T43" fmla="*/ 458203125 h 1662"/>
                <a:gd name="T44" fmla="*/ 639453125 w 1662"/>
                <a:gd name="T45" fmla="*/ 391406250 h 1662"/>
                <a:gd name="T46" fmla="*/ 648828125 w 1662"/>
                <a:gd name="T47" fmla="*/ 324609375 h 1662"/>
                <a:gd name="T48" fmla="*/ 639453125 w 1662"/>
                <a:gd name="T49" fmla="*/ 257812500 h 1662"/>
                <a:gd name="T50" fmla="*/ 620312500 w 1662"/>
                <a:gd name="T51" fmla="*/ 200781250 h 1662"/>
                <a:gd name="T52" fmla="*/ 591796875 w 1662"/>
                <a:gd name="T53" fmla="*/ 143359375 h 1662"/>
                <a:gd name="T54" fmla="*/ 553515625 w 1662"/>
                <a:gd name="T55" fmla="*/ 95703125 h 1662"/>
                <a:gd name="T56" fmla="*/ 505859375 w 1662"/>
                <a:gd name="T57" fmla="*/ 57812500 h 1662"/>
                <a:gd name="T58" fmla="*/ 448828125 w 1662"/>
                <a:gd name="T59" fmla="*/ 28906250 h 1662"/>
                <a:gd name="T60" fmla="*/ 391406250 w 1662"/>
                <a:gd name="T61" fmla="*/ 9765625 h 1662"/>
                <a:gd name="T62" fmla="*/ 324609375 w 1662"/>
                <a:gd name="T63" fmla="*/ 390625 h 166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662"/>
                <a:gd name="T97" fmla="*/ 0 h 1662"/>
                <a:gd name="T98" fmla="*/ 1662 w 1662"/>
                <a:gd name="T99" fmla="*/ 1662 h 166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662" h="1662" extrusionOk="0">
                  <a:moveTo>
                    <a:pt x="831" y="1"/>
                  </a:moveTo>
                  <a:lnTo>
                    <a:pt x="660" y="25"/>
                  </a:lnTo>
                  <a:lnTo>
                    <a:pt x="514" y="74"/>
                  </a:lnTo>
                  <a:lnTo>
                    <a:pt x="367" y="148"/>
                  </a:lnTo>
                  <a:lnTo>
                    <a:pt x="245" y="245"/>
                  </a:lnTo>
                  <a:lnTo>
                    <a:pt x="147" y="367"/>
                  </a:lnTo>
                  <a:lnTo>
                    <a:pt x="74" y="514"/>
                  </a:lnTo>
                  <a:lnTo>
                    <a:pt x="25" y="660"/>
                  </a:lnTo>
                  <a:lnTo>
                    <a:pt x="1" y="831"/>
                  </a:lnTo>
                  <a:lnTo>
                    <a:pt x="25" y="1002"/>
                  </a:lnTo>
                  <a:lnTo>
                    <a:pt x="74" y="1173"/>
                  </a:lnTo>
                  <a:lnTo>
                    <a:pt x="147" y="1295"/>
                  </a:lnTo>
                  <a:lnTo>
                    <a:pt x="245" y="1418"/>
                  </a:lnTo>
                  <a:lnTo>
                    <a:pt x="367" y="1540"/>
                  </a:lnTo>
                  <a:lnTo>
                    <a:pt x="514" y="1613"/>
                  </a:lnTo>
                  <a:lnTo>
                    <a:pt x="660" y="1662"/>
                  </a:lnTo>
                  <a:lnTo>
                    <a:pt x="1002" y="1662"/>
                  </a:lnTo>
                  <a:lnTo>
                    <a:pt x="1149" y="1613"/>
                  </a:lnTo>
                  <a:lnTo>
                    <a:pt x="1295" y="1540"/>
                  </a:lnTo>
                  <a:lnTo>
                    <a:pt x="1417" y="1418"/>
                  </a:lnTo>
                  <a:lnTo>
                    <a:pt x="1515" y="1295"/>
                  </a:lnTo>
                  <a:lnTo>
                    <a:pt x="1588" y="1173"/>
                  </a:lnTo>
                  <a:lnTo>
                    <a:pt x="1637" y="1002"/>
                  </a:lnTo>
                  <a:lnTo>
                    <a:pt x="1661" y="831"/>
                  </a:lnTo>
                  <a:lnTo>
                    <a:pt x="1637" y="660"/>
                  </a:lnTo>
                  <a:lnTo>
                    <a:pt x="1588" y="514"/>
                  </a:lnTo>
                  <a:lnTo>
                    <a:pt x="1515" y="367"/>
                  </a:lnTo>
                  <a:lnTo>
                    <a:pt x="1417" y="245"/>
                  </a:lnTo>
                  <a:lnTo>
                    <a:pt x="1295" y="148"/>
                  </a:lnTo>
                  <a:lnTo>
                    <a:pt x="1149" y="74"/>
                  </a:lnTo>
                  <a:lnTo>
                    <a:pt x="1002" y="25"/>
                  </a:lnTo>
                  <a:lnTo>
                    <a:pt x="831" y="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69" tIns="68569" rIns="68569" bIns="68569" anchor="ctr"/>
            <a:lstStyle/>
            <a:p>
              <a:pPr defTabSz="685800">
                <a:defRPr/>
              </a:pPr>
              <a:endParaRPr lang="es-ES" sz="1350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6" name="Grupo 15">
            <a:extLst>
              <a:ext uri="{FF2B5EF4-FFF2-40B4-BE49-F238E27FC236}">
                <a16:creationId xmlns:a16="http://schemas.microsoft.com/office/drawing/2014/main" id="{CA5D3490-F36C-40C1-8E55-51F1A7D69F1A}"/>
              </a:ext>
            </a:extLst>
          </p:cNvPr>
          <p:cNvGrpSpPr/>
          <p:nvPr/>
        </p:nvGrpSpPr>
        <p:grpSpPr bwMode="auto">
          <a:xfrm>
            <a:off x="3624825" y="3042259"/>
            <a:ext cx="945356" cy="3010657"/>
            <a:chOff x="2854849" y="1885532"/>
            <a:chExt cx="1260000" cy="4014961"/>
          </a:xfrm>
          <a:solidFill>
            <a:schemeClr val="accent2"/>
          </a:solidFill>
        </p:grpSpPr>
        <p:sp>
          <p:nvSpPr>
            <p:cNvPr id="17" name="Conector 20">
              <a:extLst>
                <a:ext uri="{FF2B5EF4-FFF2-40B4-BE49-F238E27FC236}">
                  <a16:creationId xmlns:a16="http://schemas.microsoft.com/office/drawing/2014/main" id="{45EF4441-46CA-4786-A46E-93CD25C9122A}"/>
                </a:ext>
              </a:extLst>
            </p:cNvPr>
            <p:cNvSpPr/>
            <p:nvPr/>
          </p:nvSpPr>
          <p:spPr>
            <a:xfrm>
              <a:off x="2854849" y="1885532"/>
              <a:ext cx="1260000" cy="1260000"/>
            </a:xfrm>
            <a:prstGeom prst="flowChartConnector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>
                <a:defRPr/>
              </a:pPr>
              <a:endParaRPr lang="es-ES" sz="1350" dirty="0">
                <a:solidFill>
                  <a:prstClr val="white"/>
                </a:solidFill>
                <a:latin typeface="Roboto Thin"/>
              </a:endParaRPr>
            </a:p>
          </p:txBody>
        </p:sp>
        <p:sp>
          <p:nvSpPr>
            <p:cNvPr id="18" name="Rectángulo 17">
              <a:extLst>
                <a:ext uri="{FF2B5EF4-FFF2-40B4-BE49-F238E27FC236}">
                  <a16:creationId xmlns:a16="http://schemas.microsoft.com/office/drawing/2014/main" id="{5F12875B-4FDB-4139-9059-CED89BAAEF5F}"/>
                </a:ext>
              </a:extLst>
            </p:cNvPr>
            <p:cNvSpPr/>
            <p:nvPr/>
          </p:nvSpPr>
          <p:spPr>
            <a:xfrm>
              <a:off x="3419938" y="3076999"/>
              <a:ext cx="150128" cy="28234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>
                <a:defRPr/>
              </a:pPr>
              <a:endParaRPr lang="es-ES" sz="1350" dirty="0">
                <a:solidFill>
                  <a:prstClr val="white"/>
                </a:solidFill>
                <a:latin typeface="Roboto Thin"/>
              </a:endParaRPr>
            </a:p>
          </p:txBody>
        </p:sp>
      </p:grpSp>
      <p:sp>
        <p:nvSpPr>
          <p:cNvPr id="19" name="Rectángulo 18">
            <a:extLst>
              <a:ext uri="{FF2B5EF4-FFF2-40B4-BE49-F238E27FC236}">
                <a16:creationId xmlns:a16="http://schemas.microsoft.com/office/drawing/2014/main" id="{5A716DDB-19C4-49EB-9F01-971D93ED6673}"/>
              </a:ext>
            </a:extLst>
          </p:cNvPr>
          <p:cNvSpPr/>
          <p:nvPr/>
        </p:nvSpPr>
        <p:spPr>
          <a:xfrm>
            <a:off x="718744" y="1326560"/>
            <a:ext cx="6852217" cy="16089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 defTabSz="6858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s-CO" b="1" dirty="0">
                <a:solidFill>
                  <a:prstClr val="black"/>
                </a:solidFill>
                <a:latin typeface="Avenir Medium"/>
              </a:rPr>
              <a:t>Vincular mano de obra </a:t>
            </a:r>
            <a:r>
              <a:rPr lang="es-CO" dirty="0">
                <a:solidFill>
                  <a:prstClr val="black"/>
                </a:solidFill>
                <a:latin typeface="Avenir Medium"/>
              </a:rPr>
              <a:t>de las comunidades de la zona de influencia de los proyectos</a:t>
            </a:r>
            <a:r>
              <a:rPr lang="es-CO">
                <a:solidFill>
                  <a:prstClr val="black"/>
                </a:solidFill>
                <a:latin typeface="Avenir Medium"/>
              </a:rPr>
              <a:t>. </a:t>
            </a:r>
          </a:p>
          <a:p>
            <a:pPr marL="214313" indent="-214313" defTabSz="685800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es-CO" b="1" dirty="0">
              <a:solidFill>
                <a:prstClr val="black"/>
              </a:solidFill>
              <a:latin typeface="Avenir Medium"/>
            </a:endParaRPr>
          </a:p>
          <a:p>
            <a:pPr marL="214313" indent="-214313" defTabSz="6858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es-CO" b="1" dirty="0">
                <a:solidFill>
                  <a:prstClr val="black"/>
                </a:solidFill>
                <a:latin typeface="Avenir Medium"/>
              </a:rPr>
              <a:t>Capacitar </a:t>
            </a:r>
            <a:r>
              <a:rPr lang="es-CO" dirty="0">
                <a:solidFill>
                  <a:prstClr val="black"/>
                </a:solidFill>
                <a:latin typeface="Avenir Medium"/>
              </a:rPr>
              <a:t>al </a:t>
            </a:r>
            <a:r>
              <a:rPr lang="es-CO" b="1" dirty="0">
                <a:solidFill>
                  <a:prstClr val="black"/>
                </a:solidFill>
                <a:latin typeface="Avenir Medium"/>
              </a:rPr>
              <a:t>personal </a:t>
            </a:r>
            <a:r>
              <a:rPr lang="es-CO" dirty="0">
                <a:solidFill>
                  <a:prstClr val="black"/>
                </a:solidFill>
                <a:latin typeface="Avenir Medium"/>
              </a:rPr>
              <a:t>vinculado en los proyectos</a:t>
            </a:r>
          </a:p>
          <a:p>
            <a:pPr marL="214313" indent="-214313" algn="ctr" defTabSz="685800">
              <a:lnSpc>
                <a:spcPct val="110000"/>
              </a:lnSpc>
              <a:buFont typeface="Arial" panose="020B0604020202020204" pitchFamily="34" charset="0"/>
              <a:buChar char="•"/>
            </a:pPr>
            <a:endParaRPr lang="es-CO" dirty="0">
              <a:solidFill>
                <a:prstClr val="black"/>
              </a:solidFill>
              <a:latin typeface="Avenir Medium"/>
            </a:endParaRP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343E3923-3F09-4E6D-B7FC-9E7994E65A7D}"/>
              </a:ext>
            </a:extLst>
          </p:cNvPr>
          <p:cNvGrpSpPr/>
          <p:nvPr/>
        </p:nvGrpSpPr>
        <p:grpSpPr bwMode="auto">
          <a:xfrm>
            <a:off x="6554940" y="3051783"/>
            <a:ext cx="1016021" cy="3001132"/>
            <a:chOff x="2854849" y="1885532"/>
            <a:chExt cx="1354184" cy="3832943"/>
          </a:xfrm>
          <a:solidFill>
            <a:schemeClr val="accent2"/>
          </a:solidFill>
        </p:grpSpPr>
        <p:sp>
          <p:nvSpPr>
            <p:cNvPr id="24" name="Conector 20">
              <a:extLst>
                <a:ext uri="{FF2B5EF4-FFF2-40B4-BE49-F238E27FC236}">
                  <a16:creationId xmlns:a16="http://schemas.microsoft.com/office/drawing/2014/main" id="{C3092070-10EB-4296-9AF5-EE0478F22633}"/>
                </a:ext>
              </a:extLst>
            </p:cNvPr>
            <p:cNvSpPr/>
            <p:nvPr/>
          </p:nvSpPr>
          <p:spPr>
            <a:xfrm>
              <a:off x="2854849" y="1885532"/>
              <a:ext cx="1354184" cy="1260000"/>
            </a:xfrm>
            <a:prstGeom prst="flowChartConnector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>
                <a:defRPr/>
              </a:pPr>
              <a:endParaRPr lang="es-ES" sz="1350" dirty="0">
                <a:solidFill>
                  <a:prstClr val="white"/>
                </a:solidFill>
                <a:latin typeface="Roboto Thin"/>
              </a:endParaRPr>
            </a:p>
          </p:txBody>
        </p: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978370D8-8BD1-4E46-A13F-21BD901270AF}"/>
                </a:ext>
              </a:extLst>
            </p:cNvPr>
            <p:cNvSpPr/>
            <p:nvPr/>
          </p:nvSpPr>
          <p:spPr>
            <a:xfrm>
              <a:off x="3419939" y="3076999"/>
              <a:ext cx="144256" cy="264147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>
                <a:defRPr/>
              </a:pPr>
              <a:endParaRPr lang="es-ES" sz="1350" dirty="0">
                <a:solidFill>
                  <a:prstClr val="white"/>
                </a:solidFill>
                <a:latin typeface="Roboto Thin"/>
              </a:endParaRPr>
            </a:p>
          </p:txBody>
        </p:sp>
      </p:grpSp>
      <p:sp>
        <p:nvSpPr>
          <p:cNvPr id="26" name="Rectángulo 25">
            <a:extLst>
              <a:ext uri="{FF2B5EF4-FFF2-40B4-BE49-F238E27FC236}">
                <a16:creationId xmlns:a16="http://schemas.microsoft.com/office/drawing/2014/main" id="{90B5515C-4052-4AAD-B19A-FAEB0549981D}"/>
              </a:ext>
            </a:extLst>
          </p:cNvPr>
          <p:cNvSpPr/>
          <p:nvPr/>
        </p:nvSpPr>
        <p:spPr>
          <a:xfrm>
            <a:off x="3733052" y="3333717"/>
            <a:ext cx="7585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>
              <a:defRPr/>
            </a:pPr>
            <a:r>
              <a:rPr lang="es-ES" b="1" dirty="0">
                <a:solidFill>
                  <a:prstClr val="white"/>
                </a:solidFill>
                <a:latin typeface="Century Gothic" panose="020B0502020202020204" pitchFamily="34" charset="0"/>
              </a:rPr>
              <a:t>2</a:t>
            </a:r>
            <a:r>
              <a:rPr lang="es-ES" sz="1500" b="1" dirty="0">
                <a:solidFill>
                  <a:prstClr val="white"/>
                </a:solidFill>
                <a:latin typeface="Century Gothic" panose="020B0502020202020204" pitchFamily="34" charset="0"/>
              </a:rPr>
              <a:t> OLA</a:t>
            </a: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B11F4FE1-9D24-470D-B4F3-B0FF32C30FA1}"/>
              </a:ext>
            </a:extLst>
          </p:cNvPr>
          <p:cNvSpPr/>
          <p:nvPr/>
        </p:nvSpPr>
        <p:spPr>
          <a:xfrm>
            <a:off x="5203241" y="3358636"/>
            <a:ext cx="7585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>
              <a:defRPr/>
            </a:pPr>
            <a:r>
              <a:rPr lang="es-ES" b="1" dirty="0">
                <a:solidFill>
                  <a:prstClr val="white"/>
                </a:solidFill>
                <a:latin typeface="Century Gothic" panose="020B0502020202020204" pitchFamily="34" charset="0"/>
              </a:rPr>
              <a:t>3</a:t>
            </a:r>
            <a:r>
              <a:rPr lang="es-ES" sz="1500" b="1" dirty="0">
                <a:solidFill>
                  <a:prstClr val="white"/>
                </a:solidFill>
                <a:latin typeface="Century Gothic" panose="020B0502020202020204" pitchFamily="34" charset="0"/>
              </a:rPr>
              <a:t> OLA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954449D2-EC58-40B4-9DA4-613B4605F7F3}"/>
              </a:ext>
            </a:extLst>
          </p:cNvPr>
          <p:cNvSpPr/>
          <p:nvPr/>
        </p:nvSpPr>
        <p:spPr>
          <a:xfrm>
            <a:off x="6823730" y="3332103"/>
            <a:ext cx="4413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es-ES" b="1" dirty="0">
                <a:solidFill>
                  <a:prstClr val="white"/>
                </a:solidFill>
                <a:latin typeface="Century Gothic" panose="020B0502020202020204" pitchFamily="34" charset="0"/>
              </a:rPr>
              <a:t>IP</a:t>
            </a: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151DD637-C105-4E39-9E4E-4D04310CF923}"/>
              </a:ext>
            </a:extLst>
          </p:cNvPr>
          <p:cNvSpPr/>
          <p:nvPr/>
        </p:nvSpPr>
        <p:spPr>
          <a:xfrm>
            <a:off x="4298673" y="4589831"/>
            <a:ext cx="889987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/>
            <a:r>
              <a:rPr lang="es-CO" sz="1500" b="1" dirty="0">
                <a:solidFill>
                  <a:prstClr val="white"/>
                </a:solidFill>
                <a:latin typeface="Century Gothic" panose="020B0502020202020204" pitchFamily="34" charset="0"/>
              </a:rPr>
              <a:t> 16.674</a:t>
            </a:r>
          </a:p>
          <a:p>
            <a:pPr defTabSz="685800"/>
            <a:r>
              <a:rPr lang="es-CO" sz="1200" b="1" dirty="0">
                <a:solidFill>
                  <a:prstClr val="white"/>
                </a:solidFill>
                <a:latin typeface="Century Gothic" panose="020B0502020202020204" pitchFamily="34" charset="0"/>
              </a:rPr>
              <a:t>EMPLEOS </a:t>
            </a: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8F11DD87-59F0-49C9-8EC6-BC0E298944A1}"/>
              </a:ext>
            </a:extLst>
          </p:cNvPr>
          <p:cNvSpPr/>
          <p:nvPr/>
        </p:nvSpPr>
        <p:spPr>
          <a:xfrm>
            <a:off x="7265105" y="4589829"/>
            <a:ext cx="901209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/>
            <a:r>
              <a:rPr lang="es-CO" sz="1500" b="1" dirty="0">
                <a:solidFill>
                  <a:prstClr val="white"/>
                </a:solidFill>
                <a:latin typeface="Century Gothic" panose="020B0502020202020204" pitchFamily="34" charset="0"/>
              </a:rPr>
              <a:t> 19.793</a:t>
            </a:r>
          </a:p>
          <a:p>
            <a:pPr defTabSz="685800"/>
            <a:r>
              <a:rPr lang="es-ES" sz="1200" b="1" dirty="0">
                <a:solidFill>
                  <a:prstClr val="white"/>
                </a:solidFill>
                <a:latin typeface="Century Gothic" panose="020B0502020202020204" pitchFamily="34" charset="0"/>
              </a:rPr>
              <a:t>EMPLEOS</a:t>
            </a:r>
            <a:r>
              <a:rPr lang="es-CO" sz="1500" b="1" dirty="0">
                <a:solidFill>
                  <a:prstClr val="white"/>
                </a:solidFill>
                <a:latin typeface="Century Gothic" panose="020B0502020202020204" pitchFamily="34" charset="0"/>
              </a:rPr>
              <a:t> </a:t>
            </a: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896350F0-AEF2-43F6-B3C1-D4AB6808C4B9}"/>
              </a:ext>
            </a:extLst>
          </p:cNvPr>
          <p:cNvSpPr/>
          <p:nvPr/>
        </p:nvSpPr>
        <p:spPr>
          <a:xfrm>
            <a:off x="5778228" y="4635997"/>
            <a:ext cx="928459" cy="5309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/>
            <a:r>
              <a:rPr lang="es-CO" sz="1500" b="1" dirty="0">
                <a:solidFill>
                  <a:prstClr val="white"/>
                </a:solidFill>
                <a:latin typeface="Century Gothic" panose="020B0502020202020204" pitchFamily="34" charset="0"/>
              </a:rPr>
              <a:t> 883 </a:t>
            </a:r>
          </a:p>
          <a:p>
            <a:pPr defTabSz="685800"/>
            <a:r>
              <a:rPr lang="es-CO" sz="1350" b="1" dirty="0">
                <a:solidFill>
                  <a:prstClr val="white"/>
                </a:solidFill>
                <a:latin typeface="Century Gothic" panose="020B0502020202020204" pitchFamily="34" charset="0"/>
              </a:rPr>
              <a:t>EMPLEOS</a:t>
            </a: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A58A4601-1A1B-4975-B67E-1F57F4E5CDFA}"/>
              </a:ext>
            </a:extLst>
          </p:cNvPr>
          <p:cNvSpPr/>
          <p:nvPr/>
        </p:nvSpPr>
        <p:spPr>
          <a:xfrm>
            <a:off x="2249818" y="3317394"/>
            <a:ext cx="7585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>
              <a:defRPr/>
            </a:pPr>
            <a:r>
              <a:rPr lang="es-ES" b="1" dirty="0">
                <a:solidFill>
                  <a:prstClr val="white"/>
                </a:solidFill>
                <a:latin typeface="Century Gothic" panose="020B0502020202020204" pitchFamily="34" charset="0"/>
              </a:rPr>
              <a:t>1</a:t>
            </a:r>
            <a:r>
              <a:rPr lang="es-ES" sz="1500" b="1" dirty="0">
                <a:solidFill>
                  <a:prstClr val="white"/>
                </a:solidFill>
                <a:latin typeface="Century Gothic" panose="020B0502020202020204" pitchFamily="34" charset="0"/>
              </a:rPr>
              <a:t> OLA</a:t>
            </a:r>
          </a:p>
        </p:txBody>
      </p:sp>
      <p:sp>
        <p:nvSpPr>
          <p:cNvPr id="33" name="17 CuadroTexto">
            <a:extLst>
              <a:ext uri="{FF2B5EF4-FFF2-40B4-BE49-F238E27FC236}">
                <a16:creationId xmlns:a16="http://schemas.microsoft.com/office/drawing/2014/main" id="{11B899D8-7EB9-4200-9EEE-F5B68FE96F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03921" y="5507059"/>
            <a:ext cx="5235213" cy="461665"/>
          </a:xfrm>
          <a:prstGeom prst="rect">
            <a:avLst/>
          </a:prstGeom>
          <a:solidFill>
            <a:schemeClr val="bg1"/>
          </a:solidFill>
          <a:ln>
            <a:solidFill>
              <a:schemeClr val="accent2"/>
            </a:solidFill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800"/>
            <a:r>
              <a:rPr lang="es-CO" sz="1200" dirty="0">
                <a:solidFill>
                  <a:srgbClr val="222222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Más de </a:t>
            </a:r>
            <a:r>
              <a:rPr lang="es-CO" sz="1200" b="1" dirty="0">
                <a:solidFill>
                  <a:srgbClr val="222222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60.000 </a:t>
            </a:r>
            <a:r>
              <a:rPr lang="es-CO" sz="1200" dirty="0">
                <a:solidFill>
                  <a:srgbClr val="222222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 </a:t>
            </a:r>
            <a:r>
              <a:rPr lang="es-CO" sz="1050" dirty="0">
                <a:solidFill>
                  <a:srgbClr val="222222"/>
                </a:solidFill>
                <a:latin typeface="Century Gothic" panose="020B0502020202020204" pitchFamily="34" charset="0"/>
                <a:ea typeface="Calibri" panose="020F0502020204030204" pitchFamily="34" charset="0"/>
              </a:rPr>
              <a:t>empleos directos e indirectos generados en 4G</a:t>
            </a:r>
          </a:p>
          <a:p>
            <a:pPr algn="ctr" defTabSz="685800"/>
            <a:r>
              <a:rPr lang="es-CO" sz="1200" b="1" dirty="0">
                <a:solidFill>
                  <a:prstClr val="black"/>
                </a:solidFill>
                <a:latin typeface="Century Gothic" panose="020B0502020202020204" pitchFamily="34" charset="0"/>
              </a:rPr>
              <a:t>115.000</a:t>
            </a:r>
            <a:r>
              <a:rPr lang="es-CO" sz="12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s-CO" sz="1050" dirty="0">
                <a:solidFill>
                  <a:prstClr val="black"/>
                </a:solidFill>
                <a:latin typeface="Century Gothic" panose="020B0502020202020204" pitchFamily="34" charset="0"/>
              </a:rPr>
              <a:t>empleos en total de todos los modos</a:t>
            </a:r>
            <a:endParaRPr lang="es-CO" sz="120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34" name="Llamada ovalada 113">
            <a:extLst>
              <a:ext uri="{FF2B5EF4-FFF2-40B4-BE49-F238E27FC236}">
                <a16:creationId xmlns:a16="http://schemas.microsoft.com/office/drawing/2014/main" id="{9F01211E-6971-4D39-9F25-28D2E9FBAD48}"/>
              </a:ext>
            </a:extLst>
          </p:cNvPr>
          <p:cNvSpPr/>
          <p:nvPr/>
        </p:nvSpPr>
        <p:spPr>
          <a:xfrm rot="16200000">
            <a:off x="2352485" y="5425089"/>
            <a:ext cx="540000" cy="540000"/>
          </a:xfrm>
          <a:prstGeom prst="wedgeEllipseCallout">
            <a:avLst>
              <a:gd name="adj1" fmla="val -50045"/>
              <a:gd name="adj2" fmla="val 5856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s-ES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5" name="Freeform 566">
            <a:extLst>
              <a:ext uri="{FF2B5EF4-FFF2-40B4-BE49-F238E27FC236}">
                <a16:creationId xmlns:a16="http://schemas.microsoft.com/office/drawing/2014/main" id="{6F4C2C59-42B9-4A49-BD55-AFDE666628DE}"/>
              </a:ext>
            </a:extLst>
          </p:cNvPr>
          <p:cNvSpPr/>
          <p:nvPr/>
        </p:nvSpPr>
        <p:spPr>
          <a:xfrm>
            <a:off x="2489580" y="5536470"/>
            <a:ext cx="270000" cy="324000"/>
          </a:xfrm>
          <a:custGeom>
            <a:avLst/>
            <a:gdLst>
              <a:gd name="connsiteX0" fmla="*/ 0 w 432708"/>
              <a:gd name="connsiteY0" fmla="*/ 384816 h 504825"/>
              <a:gd name="connsiteX1" fmla="*/ 91557 w 432708"/>
              <a:gd name="connsiteY1" fmla="*/ 420594 h 504825"/>
              <a:gd name="connsiteX2" fmla="*/ 216354 w 432708"/>
              <a:gd name="connsiteY2" fmla="*/ 432707 h 504825"/>
              <a:gd name="connsiteX3" fmla="*/ 341151 w 432708"/>
              <a:gd name="connsiteY3" fmla="*/ 420594 h 504825"/>
              <a:gd name="connsiteX4" fmla="*/ 432708 w 432708"/>
              <a:gd name="connsiteY4" fmla="*/ 384816 h 504825"/>
              <a:gd name="connsiteX5" fmla="*/ 432708 w 432708"/>
              <a:gd name="connsiteY5" fmla="*/ 432707 h 504825"/>
              <a:gd name="connsiteX6" fmla="*/ 403692 w 432708"/>
              <a:gd name="connsiteY6" fmla="*/ 468766 h 504825"/>
              <a:gd name="connsiteX7" fmla="*/ 324813 w 432708"/>
              <a:gd name="connsiteY7" fmla="*/ 495106 h 504825"/>
              <a:gd name="connsiteX8" fmla="*/ 216354 w 432708"/>
              <a:gd name="connsiteY8" fmla="*/ 504825 h 504825"/>
              <a:gd name="connsiteX9" fmla="*/ 107895 w 432708"/>
              <a:gd name="connsiteY9" fmla="*/ 495106 h 504825"/>
              <a:gd name="connsiteX10" fmla="*/ 29017 w 432708"/>
              <a:gd name="connsiteY10" fmla="*/ 468766 h 504825"/>
              <a:gd name="connsiteX11" fmla="*/ 0 w 432708"/>
              <a:gd name="connsiteY11" fmla="*/ 432707 h 504825"/>
              <a:gd name="connsiteX12" fmla="*/ 0 w 432708"/>
              <a:gd name="connsiteY12" fmla="*/ 276640 h 504825"/>
              <a:gd name="connsiteX13" fmla="*/ 91557 w 432708"/>
              <a:gd name="connsiteY13" fmla="*/ 312417 h 504825"/>
              <a:gd name="connsiteX14" fmla="*/ 216354 w 432708"/>
              <a:gd name="connsiteY14" fmla="*/ 324530 h 504825"/>
              <a:gd name="connsiteX15" fmla="*/ 341151 w 432708"/>
              <a:gd name="connsiteY15" fmla="*/ 312417 h 504825"/>
              <a:gd name="connsiteX16" fmla="*/ 432708 w 432708"/>
              <a:gd name="connsiteY16" fmla="*/ 276640 h 504825"/>
              <a:gd name="connsiteX17" fmla="*/ 432708 w 432708"/>
              <a:gd name="connsiteY17" fmla="*/ 324530 h 504825"/>
              <a:gd name="connsiteX18" fmla="*/ 403692 w 432708"/>
              <a:gd name="connsiteY18" fmla="*/ 360589 h 504825"/>
              <a:gd name="connsiteX19" fmla="*/ 324813 w 432708"/>
              <a:gd name="connsiteY19" fmla="*/ 386929 h 504825"/>
              <a:gd name="connsiteX20" fmla="*/ 216354 w 432708"/>
              <a:gd name="connsiteY20" fmla="*/ 396648 h 504825"/>
              <a:gd name="connsiteX21" fmla="*/ 107895 w 432708"/>
              <a:gd name="connsiteY21" fmla="*/ 386929 h 504825"/>
              <a:gd name="connsiteX22" fmla="*/ 29017 w 432708"/>
              <a:gd name="connsiteY22" fmla="*/ 360589 h 504825"/>
              <a:gd name="connsiteX23" fmla="*/ 0 w 432708"/>
              <a:gd name="connsiteY23" fmla="*/ 324530 h 504825"/>
              <a:gd name="connsiteX24" fmla="*/ 0 w 432708"/>
              <a:gd name="connsiteY24" fmla="*/ 168463 h 504825"/>
              <a:gd name="connsiteX25" fmla="*/ 91557 w 432708"/>
              <a:gd name="connsiteY25" fmla="*/ 204240 h 504825"/>
              <a:gd name="connsiteX26" fmla="*/ 216354 w 432708"/>
              <a:gd name="connsiteY26" fmla="*/ 216354 h 504825"/>
              <a:gd name="connsiteX27" fmla="*/ 341151 w 432708"/>
              <a:gd name="connsiteY27" fmla="*/ 204240 h 504825"/>
              <a:gd name="connsiteX28" fmla="*/ 432708 w 432708"/>
              <a:gd name="connsiteY28" fmla="*/ 168463 h 504825"/>
              <a:gd name="connsiteX29" fmla="*/ 432708 w 432708"/>
              <a:gd name="connsiteY29" fmla="*/ 216354 h 504825"/>
              <a:gd name="connsiteX30" fmla="*/ 403692 w 432708"/>
              <a:gd name="connsiteY30" fmla="*/ 252412 h 504825"/>
              <a:gd name="connsiteX31" fmla="*/ 324813 w 432708"/>
              <a:gd name="connsiteY31" fmla="*/ 278752 h 504825"/>
              <a:gd name="connsiteX32" fmla="*/ 216354 w 432708"/>
              <a:gd name="connsiteY32" fmla="*/ 288471 h 504825"/>
              <a:gd name="connsiteX33" fmla="*/ 107895 w 432708"/>
              <a:gd name="connsiteY33" fmla="*/ 278752 h 504825"/>
              <a:gd name="connsiteX34" fmla="*/ 29017 w 432708"/>
              <a:gd name="connsiteY34" fmla="*/ 252412 h 504825"/>
              <a:gd name="connsiteX35" fmla="*/ 0 w 432708"/>
              <a:gd name="connsiteY35" fmla="*/ 216354 h 504825"/>
              <a:gd name="connsiteX36" fmla="*/ 216354 w 432708"/>
              <a:gd name="connsiteY36" fmla="*/ 0 h 504825"/>
              <a:gd name="connsiteX37" fmla="*/ 324813 w 432708"/>
              <a:gd name="connsiteY37" fmla="*/ 9719 h 504825"/>
              <a:gd name="connsiteX38" fmla="*/ 403692 w 432708"/>
              <a:gd name="connsiteY38" fmla="*/ 36059 h 504825"/>
              <a:gd name="connsiteX39" fmla="*/ 432708 w 432708"/>
              <a:gd name="connsiteY39" fmla="*/ 72118 h 504825"/>
              <a:gd name="connsiteX40" fmla="*/ 432708 w 432708"/>
              <a:gd name="connsiteY40" fmla="*/ 108177 h 504825"/>
              <a:gd name="connsiteX41" fmla="*/ 403692 w 432708"/>
              <a:gd name="connsiteY41" fmla="*/ 144236 h 504825"/>
              <a:gd name="connsiteX42" fmla="*/ 324813 w 432708"/>
              <a:gd name="connsiteY42" fmla="*/ 170576 h 504825"/>
              <a:gd name="connsiteX43" fmla="*/ 216354 w 432708"/>
              <a:gd name="connsiteY43" fmla="*/ 180295 h 504825"/>
              <a:gd name="connsiteX44" fmla="*/ 107895 w 432708"/>
              <a:gd name="connsiteY44" fmla="*/ 170576 h 504825"/>
              <a:gd name="connsiteX45" fmla="*/ 29017 w 432708"/>
              <a:gd name="connsiteY45" fmla="*/ 144236 h 504825"/>
              <a:gd name="connsiteX46" fmla="*/ 0 w 432708"/>
              <a:gd name="connsiteY46" fmla="*/ 108177 h 504825"/>
              <a:gd name="connsiteX47" fmla="*/ 0 w 432708"/>
              <a:gd name="connsiteY47" fmla="*/ 72118 h 504825"/>
              <a:gd name="connsiteX48" fmla="*/ 29017 w 432708"/>
              <a:gd name="connsiteY48" fmla="*/ 36059 h 504825"/>
              <a:gd name="connsiteX49" fmla="*/ 107895 w 432708"/>
              <a:gd name="connsiteY49" fmla="*/ 9719 h 504825"/>
              <a:gd name="connsiteX50" fmla="*/ 216354 w 432708"/>
              <a:gd name="connsiteY50" fmla="*/ 0 h 50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432708" h="504825">
                <a:moveTo>
                  <a:pt x="0" y="384816"/>
                </a:moveTo>
                <a:cubicBezTo>
                  <a:pt x="22349" y="400592"/>
                  <a:pt x="52868" y="412518"/>
                  <a:pt x="91557" y="420594"/>
                </a:cubicBezTo>
                <a:cubicBezTo>
                  <a:pt x="130244" y="428669"/>
                  <a:pt x="171844" y="432707"/>
                  <a:pt x="216354" y="432707"/>
                </a:cubicBezTo>
                <a:cubicBezTo>
                  <a:pt x="260864" y="432707"/>
                  <a:pt x="302463" y="428669"/>
                  <a:pt x="341151" y="420594"/>
                </a:cubicBezTo>
                <a:cubicBezTo>
                  <a:pt x="379840" y="412518"/>
                  <a:pt x="410358" y="400592"/>
                  <a:pt x="432708" y="384816"/>
                </a:cubicBezTo>
                <a:lnTo>
                  <a:pt x="432708" y="432707"/>
                </a:lnTo>
                <a:cubicBezTo>
                  <a:pt x="432708" y="445666"/>
                  <a:pt x="423035" y="457685"/>
                  <a:pt x="403692" y="468766"/>
                </a:cubicBezTo>
                <a:cubicBezTo>
                  <a:pt x="384347" y="479847"/>
                  <a:pt x="358054" y="488627"/>
                  <a:pt x="324813" y="495106"/>
                </a:cubicBezTo>
                <a:cubicBezTo>
                  <a:pt x="291570" y="501585"/>
                  <a:pt x="255417" y="504825"/>
                  <a:pt x="216354" y="504825"/>
                </a:cubicBezTo>
                <a:cubicBezTo>
                  <a:pt x="177290" y="504825"/>
                  <a:pt x="141137" y="501585"/>
                  <a:pt x="107895" y="495106"/>
                </a:cubicBezTo>
                <a:cubicBezTo>
                  <a:pt x="74654" y="488627"/>
                  <a:pt x="48360" y="479847"/>
                  <a:pt x="29017" y="468766"/>
                </a:cubicBezTo>
                <a:cubicBezTo>
                  <a:pt x="9672" y="457685"/>
                  <a:pt x="0" y="445666"/>
                  <a:pt x="0" y="432707"/>
                </a:cubicBezTo>
                <a:close/>
                <a:moveTo>
                  <a:pt x="0" y="276640"/>
                </a:moveTo>
                <a:cubicBezTo>
                  <a:pt x="22349" y="292415"/>
                  <a:pt x="52868" y="304341"/>
                  <a:pt x="91557" y="312417"/>
                </a:cubicBezTo>
                <a:cubicBezTo>
                  <a:pt x="130244" y="320492"/>
                  <a:pt x="171844" y="324530"/>
                  <a:pt x="216354" y="324530"/>
                </a:cubicBezTo>
                <a:cubicBezTo>
                  <a:pt x="260864" y="324530"/>
                  <a:pt x="302463" y="320492"/>
                  <a:pt x="341151" y="312417"/>
                </a:cubicBezTo>
                <a:cubicBezTo>
                  <a:pt x="379840" y="304341"/>
                  <a:pt x="410358" y="292415"/>
                  <a:pt x="432708" y="276640"/>
                </a:cubicBezTo>
                <a:lnTo>
                  <a:pt x="432708" y="324530"/>
                </a:lnTo>
                <a:cubicBezTo>
                  <a:pt x="432708" y="337489"/>
                  <a:pt x="423035" y="349509"/>
                  <a:pt x="403692" y="360589"/>
                </a:cubicBezTo>
                <a:cubicBezTo>
                  <a:pt x="384347" y="371670"/>
                  <a:pt x="358054" y="380450"/>
                  <a:pt x="324813" y="386929"/>
                </a:cubicBezTo>
                <a:cubicBezTo>
                  <a:pt x="291570" y="393409"/>
                  <a:pt x="255417" y="396648"/>
                  <a:pt x="216354" y="396648"/>
                </a:cubicBezTo>
                <a:cubicBezTo>
                  <a:pt x="177290" y="396648"/>
                  <a:pt x="141137" y="393409"/>
                  <a:pt x="107895" y="386929"/>
                </a:cubicBezTo>
                <a:cubicBezTo>
                  <a:pt x="74654" y="380450"/>
                  <a:pt x="48360" y="371670"/>
                  <a:pt x="29017" y="360589"/>
                </a:cubicBezTo>
                <a:cubicBezTo>
                  <a:pt x="9672" y="349509"/>
                  <a:pt x="0" y="337489"/>
                  <a:pt x="0" y="324530"/>
                </a:cubicBezTo>
                <a:close/>
                <a:moveTo>
                  <a:pt x="0" y="168463"/>
                </a:moveTo>
                <a:cubicBezTo>
                  <a:pt x="22349" y="184239"/>
                  <a:pt x="52868" y="196164"/>
                  <a:pt x="91557" y="204240"/>
                </a:cubicBezTo>
                <a:cubicBezTo>
                  <a:pt x="130244" y="212316"/>
                  <a:pt x="171844" y="216354"/>
                  <a:pt x="216354" y="216354"/>
                </a:cubicBezTo>
                <a:cubicBezTo>
                  <a:pt x="260864" y="216354"/>
                  <a:pt x="302463" y="212316"/>
                  <a:pt x="341151" y="204240"/>
                </a:cubicBezTo>
                <a:cubicBezTo>
                  <a:pt x="379840" y="196164"/>
                  <a:pt x="410358" y="184239"/>
                  <a:pt x="432708" y="168463"/>
                </a:cubicBezTo>
                <a:lnTo>
                  <a:pt x="432708" y="216354"/>
                </a:lnTo>
                <a:cubicBezTo>
                  <a:pt x="432708" y="229312"/>
                  <a:pt x="423035" y="241332"/>
                  <a:pt x="403692" y="252412"/>
                </a:cubicBezTo>
                <a:cubicBezTo>
                  <a:pt x="384347" y="263493"/>
                  <a:pt x="358054" y="272273"/>
                  <a:pt x="324813" y="278752"/>
                </a:cubicBezTo>
                <a:cubicBezTo>
                  <a:pt x="291570" y="285232"/>
                  <a:pt x="255417" y="288471"/>
                  <a:pt x="216354" y="288471"/>
                </a:cubicBezTo>
                <a:cubicBezTo>
                  <a:pt x="177290" y="288471"/>
                  <a:pt x="141137" y="285232"/>
                  <a:pt x="107895" y="278752"/>
                </a:cubicBezTo>
                <a:cubicBezTo>
                  <a:pt x="74654" y="272273"/>
                  <a:pt x="48360" y="263493"/>
                  <a:pt x="29017" y="252412"/>
                </a:cubicBezTo>
                <a:cubicBezTo>
                  <a:pt x="9672" y="241332"/>
                  <a:pt x="0" y="229312"/>
                  <a:pt x="0" y="216354"/>
                </a:cubicBezTo>
                <a:close/>
                <a:moveTo>
                  <a:pt x="216354" y="0"/>
                </a:moveTo>
                <a:cubicBezTo>
                  <a:pt x="255417" y="0"/>
                  <a:pt x="291570" y="3240"/>
                  <a:pt x="324813" y="9719"/>
                </a:cubicBezTo>
                <a:cubicBezTo>
                  <a:pt x="358054" y="16198"/>
                  <a:pt x="384347" y="24978"/>
                  <a:pt x="403692" y="36059"/>
                </a:cubicBezTo>
                <a:cubicBezTo>
                  <a:pt x="423035" y="47140"/>
                  <a:pt x="432708" y="59159"/>
                  <a:pt x="432708" y="72118"/>
                </a:cubicBezTo>
                <a:lnTo>
                  <a:pt x="432708" y="108177"/>
                </a:lnTo>
                <a:cubicBezTo>
                  <a:pt x="432708" y="121136"/>
                  <a:pt x="423035" y="133155"/>
                  <a:pt x="403692" y="144236"/>
                </a:cubicBezTo>
                <a:cubicBezTo>
                  <a:pt x="384347" y="155316"/>
                  <a:pt x="358054" y="164096"/>
                  <a:pt x="324813" y="170576"/>
                </a:cubicBezTo>
                <a:cubicBezTo>
                  <a:pt x="291570" y="177055"/>
                  <a:pt x="255417" y="180295"/>
                  <a:pt x="216354" y="180295"/>
                </a:cubicBezTo>
                <a:cubicBezTo>
                  <a:pt x="177290" y="180295"/>
                  <a:pt x="141137" y="177055"/>
                  <a:pt x="107895" y="170576"/>
                </a:cubicBezTo>
                <a:cubicBezTo>
                  <a:pt x="74654" y="164096"/>
                  <a:pt x="48360" y="155316"/>
                  <a:pt x="29017" y="144236"/>
                </a:cubicBezTo>
                <a:cubicBezTo>
                  <a:pt x="9672" y="133155"/>
                  <a:pt x="0" y="121136"/>
                  <a:pt x="0" y="108177"/>
                </a:cubicBezTo>
                <a:lnTo>
                  <a:pt x="0" y="72118"/>
                </a:lnTo>
                <a:cubicBezTo>
                  <a:pt x="0" y="59159"/>
                  <a:pt x="9672" y="47140"/>
                  <a:pt x="29017" y="36059"/>
                </a:cubicBezTo>
                <a:cubicBezTo>
                  <a:pt x="48360" y="24978"/>
                  <a:pt x="74654" y="16198"/>
                  <a:pt x="107895" y="9719"/>
                </a:cubicBezTo>
                <a:cubicBezTo>
                  <a:pt x="141137" y="3240"/>
                  <a:pt x="177290" y="0"/>
                  <a:pt x="21635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34924">
              <a:defRPr/>
            </a:pPr>
            <a:endParaRPr lang="en-US" sz="1053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65655A7F-72AE-4D02-8164-9E2655EA4FD2}"/>
              </a:ext>
            </a:extLst>
          </p:cNvPr>
          <p:cNvSpPr txBox="1"/>
          <p:nvPr/>
        </p:nvSpPr>
        <p:spPr>
          <a:xfrm>
            <a:off x="718744" y="367203"/>
            <a:ext cx="91439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4000" b="1" dirty="0">
                <a:solidFill>
                  <a:srgbClr val="173A6F"/>
                </a:solidFill>
                <a:latin typeface="Avenir Black" charset="0"/>
                <a:ea typeface="Avenir Black" charset="0"/>
                <a:cs typeface="Avenir Black" charset="0"/>
              </a:rPr>
              <a:t>Gestión Social </a:t>
            </a:r>
            <a:r>
              <a:rPr lang="es-ES_tradnl" sz="4000" dirty="0">
                <a:solidFill>
                  <a:srgbClr val="173A6F"/>
                </a:solidFill>
                <a:latin typeface="Avenir Roman"/>
                <a:ea typeface="Arial" charset="0"/>
                <a:cs typeface="Arial" charset="0"/>
              </a:rPr>
              <a:t>de la ANI</a:t>
            </a:r>
          </a:p>
        </p:txBody>
      </p:sp>
      <p:sp>
        <p:nvSpPr>
          <p:cNvPr id="38" name="Rectángulo 37"/>
          <p:cNvSpPr/>
          <p:nvPr/>
        </p:nvSpPr>
        <p:spPr>
          <a:xfrm>
            <a:off x="0" y="1143000"/>
            <a:ext cx="113016" cy="4572001"/>
          </a:xfrm>
          <a:prstGeom prst="rect">
            <a:avLst/>
          </a:prstGeom>
          <a:solidFill>
            <a:srgbClr val="173A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2142205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/>
          <p:cNvSpPr/>
          <p:nvPr/>
        </p:nvSpPr>
        <p:spPr>
          <a:xfrm>
            <a:off x="1524000" y="3144000"/>
            <a:ext cx="9144000" cy="43183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1" name="Rectángulo 10"/>
          <p:cNvSpPr/>
          <p:nvPr/>
        </p:nvSpPr>
        <p:spPr>
          <a:xfrm>
            <a:off x="4400720" y="-1"/>
            <a:ext cx="3390563" cy="121381"/>
          </a:xfrm>
          <a:prstGeom prst="rect">
            <a:avLst/>
          </a:prstGeom>
          <a:solidFill>
            <a:srgbClr val="173A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2" name="CuadroTexto 11"/>
          <p:cNvSpPr txBox="1"/>
          <p:nvPr/>
        </p:nvSpPr>
        <p:spPr>
          <a:xfrm>
            <a:off x="4542531" y="280956"/>
            <a:ext cx="310694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4800">
                <a:solidFill>
                  <a:srgbClr val="173A6F"/>
                </a:solidFill>
                <a:latin typeface="Avenir Light" charset="0"/>
                <a:ea typeface="Avenir Light" charset="0"/>
                <a:cs typeface="Avenir Light" charset="0"/>
              </a:rPr>
              <a:t>Contenido</a:t>
            </a:r>
            <a:endParaRPr lang="es-ES_tradnl" sz="4800" dirty="0">
              <a:solidFill>
                <a:srgbClr val="173A6F"/>
              </a:solidFill>
              <a:latin typeface="Avenir Light" charset="0"/>
              <a:ea typeface="Avenir Light" charset="0"/>
              <a:cs typeface="Avenir Light" charset="0"/>
            </a:endParaRPr>
          </a:p>
        </p:txBody>
      </p:sp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0F783276-0829-4709-9AD6-40646E2202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69847" y="1777107"/>
            <a:ext cx="8652306" cy="3165625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Contratos a cargo de la ANI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Estado actual contratos 4G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Resultados de la gestión social y ambiental de la ANI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latin typeface="Avenir Medium" charset="0"/>
                <a:ea typeface="Avenir Medium" charset="0"/>
                <a:cs typeface="Avenir Medium" charset="0"/>
              </a:rPr>
              <a:t>Estado actual de los principales indicadores 2018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Logros primeros 100 días 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Metas para el cuatrienio</a:t>
            </a:r>
          </a:p>
        </p:txBody>
      </p:sp>
    </p:spTree>
    <p:extLst>
      <p:ext uri="{BB962C8B-B14F-4D97-AF65-F5344CB8AC3E}">
        <p14:creationId xmlns:p14="http://schemas.microsoft.com/office/powerpoint/2010/main" val="11263081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EE559BDD-3FCD-4151-A67D-9B18ACD2D1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1986936"/>
              </p:ext>
            </p:extLst>
          </p:nvPr>
        </p:nvGraphicFramePr>
        <p:xfrm>
          <a:off x="718744" y="2065106"/>
          <a:ext cx="8398872" cy="36498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138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22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961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46705">
                  <a:extLst>
                    <a:ext uri="{9D8B030D-6E8A-4147-A177-3AD203B41FA5}">
                      <a16:colId xmlns:a16="http://schemas.microsoft.com/office/drawing/2014/main" val="2964905947"/>
                    </a:ext>
                  </a:extLst>
                </a:gridCol>
              </a:tblGrid>
              <a:tr h="515665">
                <a:tc>
                  <a:txBody>
                    <a:bodyPr/>
                    <a:lstStyle/>
                    <a:p>
                      <a:pPr algn="ctr"/>
                      <a:endParaRPr lang="es-ES_tradnl" sz="1400" b="1" i="0" dirty="0">
                        <a:latin typeface="Avenir Heavy" charset="0"/>
                        <a:ea typeface="Avenir Heavy" charset="0"/>
                        <a:cs typeface="Avenir Heavy" charset="0"/>
                      </a:endParaRPr>
                    </a:p>
                  </a:txBody>
                  <a:tcPr marL="76190" marR="76190" marT="38095" marB="38095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400" b="1" i="0" dirty="0">
                          <a:latin typeface="Avenir Black" charset="0"/>
                          <a:ea typeface="Avenir Black" charset="0"/>
                          <a:cs typeface="Avenir Black" charset="0"/>
                        </a:rPr>
                        <a:t>META 2018</a:t>
                      </a:r>
                    </a:p>
                  </a:txBody>
                  <a:tcPr marL="76190" marR="76190" marT="38095" marB="38095" anchor="ctr">
                    <a:solidFill>
                      <a:srgbClr val="E65E0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400" b="1" i="0" dirty="0">
                          <a:latin typeface="Avenir Black" charset="0"/>
                          <a:ea typeface="Avenir Black" charset="0"/>
                          <a:cs typeface="Avenir Black" charset="0"/>
                        </a:rPr>
                        <a:t>AVANCE</a:t>
                      </a:r>
                    </a:p>
                  </a:txBody>
                  <a:tcPr marL="76190" marR="76190" marT="38095" marB="38095" anchor="ctr">
                    <a:solidFill>
                      <a:srgbClr val="E65E0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400" b="1" i="0" dirty="0">
                          <a:latin typeface="Avenir Black" charset="0"/>
                          <a:ea typeface="Avenir Black" charset="0"/>
                          <a:cs typeface="Avenir Black" charset="0"/>
                        </a:rPr>
                        <a:t>%</a:t>
                      </a:r>
                    </a:p>
                  </a:txBody>
                  <a:tcPr marL="76190" marR="76190" marT="38095" marB="38095" anchor="ctr">
                    <a:solidFill>
                      <a:srgbClr val="E65E0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38">
                <a:tc>
                  <a:txBody>
                    <a:bodyPr/>
                    <a:lstStyle/>
                    <a:p>
                      <a:pPr algn="ctr"/>
                      <a:r>
                        <a:rPr lang="es-ES_tradnl" sz="1200" b="0" i="0" dirty="0">
                          <a:solidFill>
                            <a:schemeClr val="bg1"/>
                          </a:solidFill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INDICADORES</a:t>
                      </a:r>
                    </a:p>
                  </a:txBody>
                  <a:tcPr marL="76190" marR="76190" marT="38095" marB="38095" anchor="ctr">
                    <a:solidFill>
                      <a:srgbClr val="173A6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_tradnl" sz="1200" b="0" i="0" dirty="0">
                        <a:solidFill>
                          <a:schemeClr val="bg1"/>
                        </a:solidFill>
                        <a:latin typeface="Avenir Medium" charset="0"/>
                        <a:ea typeface="Avenir Medium" charset="0"/>
                        <a:cs typeface="Avenir Medium" charset="0"/>
                      </a:endParaRPr>
                    </a:p>
                  </a:txBody>
                  <a:tcPr marL="76190" marR="76190" marT="38095" marB="38095" anchor="ctr">
                    <a:solidFill>
                      <a:srgbClr val="173A6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200" b="0" i="0" dirty="0">
                          <a:solidFill>
                            <a:schemeClr val="bg1"/>
                          </a:solidFill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 a Sept.</a:t>
                      </a:r>
                    </a:p>
                  </a:txBody>
                  <a:tcPr marL="76190" marR="76190" marT="38095" marB="38095" anchor="ctr">
                    <a:solidFill>
                      <a:srgbClr val="173A6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_tradnl" sz="1200" b="0" i="0" dirty="0">
                        <a:solidFill>
                          <a:schemeClr val="bg1"/>
                        </a:solidFill>
                        <a:latin typeface="Avenir Medium" charset="0"/>
                        <a:ea typeface="Avenir Medium" charset="0"/>
                        <a:cs typeface="Avenir Medium" charset="0"/>
                      </a:endParaRPr>
                    </a:p>
                  </a:txBody>
                  <a:tcPr marL="76190" marR="76190" marT="38095" marB="38095" anchor="ctr">
                    <a:solidFill>
                      <a:srgbClr val="173A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9011">
                <a:tc>
                  <a:txBody>
                    <a:bodyPr/>
                    <a:lstStyle/>
                    <a:p>
                      <a:r>
                        <a:rPr lang="es-CO" sz="2000" b="0" i="0" dirty="0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Nuevas calzadas construidas</a:t>
                      </a:r>
                    </a:p>
                  </a:txBody>
                  <a:tcPr marL="68580" marR="68580" marT="34290" marB="3429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sz="2000" b="0" i="0" dirty="0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116 km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sz="2000" b="0" i="0" dirty="0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82,7 km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sz="2000" b="0" i="0" dirty="0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71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61060">
                <a:tc>
                  <a:txBody>
                    <a:bodyPr/>
                    <a:lstStyle/>
                    <a:p>
                      <a:r>
                        <a:rPr lang="es-ES" sz="2000" b="0" i="0" dirty="0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Mejorar y rehabilitar vías concesionadas</a:t>
                      </a:r>
                      <a:endParaRPr lang="es-CO" sz="2000" b="0" i="0" dirty="0">
                        <a:latin typeface="Avenir Medium" charset="0"/>
                        <a:ea typeface="Avenir Medium" charset="0"/>
                        <a:cs typeface="Avenir Medium" charset="0"/>
                      </a:endParaRPr>
                    </a:p>
                  </a:txBody>
                  <a:tcPr marL="68580" marR="68580" marT="34290" marB="3429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sz="2000" b="0" i="0" dirty="0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172,14 km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sz="2000" b="0" i="0" dirty="0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189,7 km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sz="2000" b="0" i="0" dirty="0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110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61060">
                <a:tc>
                  <a:txBody>
                    <a:bodyPr/>
                    <a:lstStyle/>
                    <a:p>
                      <a:r>
                        <a:rPr lang="es-ES" sz="2000" b="0" i="0" dirty="0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Inversión privada en infraestructura de carretera</a:t>
                      </a:r>
                      <a:endParaRPr lang="es-CO" sz="2000" b="0" i="0" dirty="0">
                        <a:latin typeface="Avenir Medium" charset="0"/>
                        <a:ea typeface="Avenir Medium" charset="0"/>
                        <a:cs typeface="Avenir Medium" charset="0"/>
                      </a:endParaRPr>
                    </a:p>
                  </a:txBody>
                  <a:tcPr marL="68580" marR="68580" marT="34290" marB="3429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sz="2000" b="0" i="0" dirty="0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$8 </a:t>
                      </a:r>
                      <a:r>
                        <a:rPr lang="es-CO" sz="2000" b="0" i="0" dirty="0" err="1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Bn</a:t>
                      </a:r>
                      <a:endParaRPr lang="es-CO" sz="2000" b="0" i="0" dirty="0">
                        <a:latin typeface="Avenir Medium" charset="0"/>
                        <a:ea typeface="Avenir Medium" charset="0"/>
                        <a:cs typeface="Avenir Medium" charset="0"/>
                      </a:endParaRPr>
                    </a:p>
                  </a:txBody>
                  <a:tcPr marL="68580" marR="68580" marT="34290" marB="3429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sz="2000" b="0" i="0" dirty="0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$4,1 </a:t>
                      </a:r>
                      <a:r>
                        <a:rPr lang="es-CO" sz="2000" b="0" i="0" dirty="0" err="1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Bn</a:t>
                      </a:r>
                      <a:endParaRPr lang="es-CO" sz="2000" b="0" i="0" dirty="0">
                        <a:latin typeface="Avenir Medium" charset="0"/>
                        <a:ea typeface="Avenir Medium" charset="0"/>
                        <a:cs typeface="Avenir Medium" charset="0"/>
                      </a:endParaRPr>
                    </a:p>
                  </a:txBody>
                  <a:tcPr marL="68580" marR="68580" marT="34290" marB="3429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sz="2000" b="0" i="0" dirty="0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52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8552785"/>
                  </a:ext>
                </a:extLst>
              </a:tr>
              <a:tr h="761060">
                <a:tc>
                  <a:txBody>
                    <a:bodyPr/>
                    <a:lstStyle/>
                    <a:p>
                      <a:r>
                        <a:rPr lang="es-ES" sz="2000" b="0" i="0" dirty="0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Inversión privada en infraestructura de férrea, aeroportuaria y portuaria</a:t>
                      </a:r>
                      <a:endParaRPr lang="es-CO" sz="2000" b="0" i="0" dirty="0">
                        <a:latin typeface="Avenir Medium" charset="0"/>
                        <a:ea typeface="Avenir Medium" charset="0"/>
                        <a:cs typeface="Avenir Medium" charset="0"/>
                      </a:endParaRPr>
                    </a:p>
                  </a:txBody>
                  <a:tcPr marL="68580" marR="68580" marT="34290" marB="3429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sz="2000" b="0" i="0" dirty="0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$1 </a:t>
                      </a:r>
                      <a:r>
                        <a:rPr lang="es-CO" sz="2000" b="0" i="0" dirty="0" err="1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Bn</a:t>
                      </a:r>
                      <a:endParaRPr lang="es-CO" sz="2000" b="0" i="0" dirty="0">
                        <a:latin typeface="Avenir Medium" charset="0"/>
                        <a:ea typeface="Avenir Medium" charset="0"/>
                        <a:cs typeface="Avenir Medium" charset="0"/>
                      </a:endParaRP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sz="2000" b="0" i="0" dirty="0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$0,6 </a:t>
                      </a:r>
                      <a:r>
                        <a:rPr lang="es-CO" sz="2000" b="0" i="0" dirty="0" err="1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Bn</a:t>
                      </a:r>
                      <a:endParaRPr lang="es-CO" sz="2000" b="0" i="0" dirty="0">
                        <a:latin typeface="Avenir Medium" charset="0"/>
                        <a:ea typeface="Avenir Medium" charset="0"/>
                        <a:cs typeface="Avenir Medium" charset="0"/>
                      </a:endParaRP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sz="2000" b="0" i="0" dirty="0">
                          <a:latin typeface="Avenir Medium" charset="0"/>
                          <a:ea typeface="Avenir Medium" charset="0"/>
                          <a:cs typeface="Avenir Medium" charset="0"/>
                        </a:rPr>
                        <a:t>59</a:t>
                      </a:r>
                    </a:p>
                  </a:txBody>
                  <a:tcPr marL="68580" marR="68580" marT="34290" marB="3429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8226036"/>
                  </a:ext>
                </a:extLst>
              </a:tr>
            </a:tbl>
          </a:graphicData>
        </a:graphic>
      </p:graphicFrame>
      <p:sp>
        <p:nvSpPr>
          <p:cNvPr id="6" name="CuadroTexto 5">
            <a:extLst>
              <a:ext uri="{FF2B5EF4-FFF2-40B4-BE49-F238E27FC236}">
                <a16:creationId xmlns:a16="http://schemas.microsoft.com/office/drawing/2014/main" id="{65655A7F-72AE-4D02-8164-9E2655EA4FD2}"/>
              </a:ext>
            </a:extLst>
          </p:cNvPr>
          <p:cNvSpPr txBox="1"/>
          <p:nvPr/>
        </p:nvSpPr>
        <p:spPr>
          <a:xfrm>
            <a:off x="718744" y="367203"/>
            <a:ext cx="914399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4000" dirty="0">
                <a:solidFill>
                  <a:srgbClr val="173A6F"/>
                </a:solidFill>
                <a:latin typeface="Avenir Roman"/>
                <a:ea typeface="Arial" charset="0"/>
                <a:cs typeface="Arial" charset="0"/>
              </a:rPr>
              <a:t>Estado actual de las metas</a:t>
            </a:r>
          </a:p>
          <a:p>
            <a:pPr>
              <a:defRPr/>
            </a:pPr>
            <a:r>
              <a:rPr lang="es-ES_tradnl" sz="4000" b="1" dirty="0">
                <a:solidFill>
                  <a:srgbClr val="173A6F"/>
                </a:solidFill>
                <a:latin typeface="Avenir Black" charset="0"/>
                <a:ea typeface="Avenir Black" charset="0"/>
                <a:cs typeface="Avenir Black" charset="0"/>
              </a:rPr>
              <a:t>para la vigencia 2018</a:t>
            </a:r>
          </a:p>
        </p:txBody>
      </p:sp>
      <p:sp>
        <p:nvSpPr>
          <p:cNvPr id="7" name="Rectángulo 6"/>
          <p:cNvSpPr/>
          <p:nvPr/>
        </p:nvSpPr>
        <p:spPr>
          <a:xfrm>
            <a:off x="0" y="1143000"/>
            <a:ext cx="113016" cy="4572001"/>
          </a:xfrm>
          <a:prstGeom prst="rect">
            <a:avLst/>
          </a:prstGeom>
          <a:solidFill>
            <a:srgbClr val="173A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9601723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/>
          <p:cNvSpPr/>
          <p:nvPr/>
        </p:nvSpPr>
        <p:spPr>
          <a:xfrm>
            <a:off x="1524000" y="3564811"/>
            <a:ext cx="9144000" cy="43183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1" name="Rectángulo 10"/>
          <p:cNvSpPr/>
          <p:nvPr/>
        </p:nvSpPr>
        <p:spPr>
          <a:xfrm>
            <a:off x="4400720" y="-1"/>
            <a:ext cx="3390563" cy="121381"/>
          </a:xfrm>
          <a:prstGeom prst="rect">
            <a:avLst/>
          </a:prstGeom>
          <a:solidFill>
            <a:srgbClr val="173A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2" name="CuadroTexto 11"/>
          <p:cNvSpPr txBox="1"/>
          <p:nvPr/>
        </p:nvSpPr>
        <p:spPr>
          <a:xfrm>
            <a:off x="4542531" y="280956"/>
            <a:ext cx="310694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4800">
                <a:solidFill>
                  <a:srgbClr val="173A6F"/>
                </a:solidFill>
                <a:latin typeface="Avenir Light" charset="0"/>
                <a:ea typeface="Avenir Light" charset="0"/>
                <a:cs typeface="Avenir Light" charset="0"/>
              </a:rPr>
              <a:t>Contenido</a:t>
            </a:r>
            <a:endParaRPr lang="es-ES_tradnl" sz="4800" dirty="0">
              <a:solidFill>
                <a:srgbClr val="173A6F"/>
              </a:solidFill>
              <a:latin typeface="Avenir Light" charset="0"/>
              <a:ea typeface="Avenir Light" charset="0"/>
              <a:cs typeface="Avenir Light" charset="0"/>
            </a:endParaRPr>
          </a:p>
        </p:txBody>
      </p:sp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0F783276-0829-4709-9AD6-40646E2202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69847" y="1777107"/>
            <a:ext cx="8652306" cy="3165625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Contratos a cargo de la ANI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Estado actual contratos 4G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Resultados de la gestión social y ambiental de la ANI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Estado actual de los principales indicadores 2018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latin typeface="Avenir Medium" charset="0"/>
                <a:ea typeface="Avenir Medium" charset="0"/>
                <a:cs typeface="Avenir Medium" charset="0"/>
              </a:rPr>
              <a:t>Logros primeros 100 días 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Metas para el cuatrienio</a:t>
            </a:r>
          </a:p>
        </p:txBody>
      </p:sp>
    </p:spTree>
    <p:extLst>
      <p:ext uri="{BB962C8B-B14F-4D97-AF65-F5344CB8AC3E}">
        <p14:creationId xmlns:p14="http://schemas.microsoft.com/office/powerpoint/2010/main" val="4385992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0FA01AB6-B165-4AFB-848D-AC0ADC572B93}"/>
              </a:ext>
            </a:extLst>
          </p:cNvPr>
          <p:cNvSpPr txBox="1"/>
          <p:nvPr/>
        </p:nvSpPr>
        <p:spPr>
          <a:xfrm>
            <a:off x="718744" y="1207537"/>
            <a:ext cx="830196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es-ES_tradnl" dirty="0">
                <a:latin typeface="Avenir Roman"/>
                <a:ea typeface="Avenir Black" charset="0"/>
                <a:cs typeface="Arial" charset="0"/>
              </a:rPr>
              <a:t>Junto con el Ministerio de Transporte se realizó un </a:t>
            </a:r>
            <a:r>
              <a:rPr lang="es-ES_tradnl" b="1" dirty="0">
                <a:latin typeface="Avenir Roman"/>
                <a:ea typeface="Avenir Black" charset="0"/>
                <a:cs typeface="Arial" charset="0"/>
              </a:rPr>
              <a:t>diagnóstico de las problemáticas de 4G</a:t>
            </a:r>
            <a:r>
              <a:rPr lang="es-ES_tradnl" dirty="0">
                <a:latin typeface="Avenir Roman"/>
                <a:ea typeface="Avenir Black" charset="0"/>
                <a:cs typeface="Arial" charset="0"/>
              </a:rPr>
              <a:t> junto con una hoja de ruta con sus posibles soluciones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endParaRPr lang="es-ES_tradnl" dirty="0">
              <a:latin typeface="Avenir Roman"/>
              <a:ea typeface="Avenir Black" charset="0"/>
              <a:cs typeface="Arial" charset="0"/>
            </a:endParaRP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es-ES_tradnl" b="1" dirty="0">
                <a:latin typeface="Avenir Roman"/>
                <a:ea typeface="Avenir Black" charset="0"/>
                <a:cs typeface="Arial" charset="0"/>
              </a:rPr>
              <a:t>Se terminaron las siguientes obras de 4G:</a:t>
            </a: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lang="es-ES_tradnl" dirty="0">
                <a:latin typeface="Avenir Roman"/>
                <a:ea typeface="Avenir Black" charset="0"/>
                <a:cs typeface="Arial" charset="0"/>
              </a:rPr>
              <a:t>Cartagena-Barranquilla: Doble calzada entre Malambo-</a:t>
            </a:r>
            <a:r>
              <a:rPr lang="es-ES_tradnl" dirty="0" err="1">
                <a:latin typeface="Avenir Roman"/>
                <a:ea typeface="Avenir Black" charset="0"/>
                <a:cs typeface="Arial" charset="0"/>
              </a:rPr>
              <a:t>Galapa</a:t>
            </a:r>
            <a:r>
              <a:rPr lang="es-ES_tradnl" dirty="0">
                <a:latin typeface="Avenir Roman"/>
                <a:ea typeface="Avenir Black" charset="0"/>
                <a:cs typeface="Arial" charset="0"/>
              </a:rPr>
              <a:t> (17km)</a:t>
            </a: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r>
              <a:rPr lang="es-ES_tradnl" dirty="0">
                <a:latin typeface="Avenir Roman"/>
                <a:ea typeface="Avenir Black" charset="0"/>
                <a:cs typeface="Arial" charset="0"/>
              </a:rPr>
              <a:t>Pacífico 2: doble calzada entre La Pintada-Puente iglesias (14km), incluye la intersección a desnivel en Puente Iglesias</a:t>
            </a:r>
          </a:p>
          <a:p>
            <a:pPr marL="914400" lvl="1" indent="-457200">
              <a:buFont typeface="Arial" panose="020B0604020202020204" pitchFamily="34" charset="0"/>
              <a:buChar char="•"/>
              <a:defRPr/>
            </a:pPr>
            <a:endParaRPr lang="es-ES_tradnl" dirty="0">
              <a:latin typeface="Avenir Roman"/>
              <a:ea typeface="Avenir Black" charset="0"/>
              <a:cs typeface="Arial" charset="0"/>
            </a:endParaRP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es-ES_tradnl" dirty="0">
                <a:latin typeface="Avenir Roman"/>
                <a:ea typeface="Avenir Black" charset="0"/>
                <a:cs typeface="Arial" charset="0"/>
              </a:rPr>
              <a:t>Se logró el </a:t>
            </a:r>
            <a:r>
              <a:rPr lang="es-ES_tradnl" b="1" dirty="0">
                <a:latin typeface="Avenir Roman"/>
                <a:ea typeface="Avenir Black" charset="0"/>
                <a:cs typeface="Arial" charset="0"/>
              </a:rPr>
              <a:t>cierre financiero</a:t>
            </a:r>
            <a:r>
              <a:rPr lang="es-ES_tradnl" dirty="0">
                <a:latin typeface="Avenir Roman"/>
                <a:ea typeface="Avenir Black" charset="0"/>
                <a:cs typeface="Arial" charset="0"/>
              </a:rPr>
              <a:t> del proyecto Bucaramanga-Barrancabermeja-</a:t>
            </a:r>
            <a:r>
              <a:rPr lang="es-ES_tradnl" dirty="0" err="1">
                <a:latin typeface="Avenir Roman"/>
                <a:ea typeface="Avenir Black" charset="0"/>
                <a:cs typeface="Arial" charset="0"/>
              </a:rPr>
              <a:t>Yondó</a:t>
            </a:r>
            <a:r>
              <a:rPr lang="es-ES_tradnl" dirty="0">
                <a:latin typeface="Avenir Roman"/>
                <a:ea typeface="Avenir Black" charset="0"/>
                <a:cs typeface="Arial" charset="0"/>
              </a:rPr>
              <a:t>, por </a:t>
            </a:r>
            <a:r>
              <a:rPr lang="es-ES_tradnl" b="1" dirty="0">
                <a:latin typeface="Avenir Roman"/>
                <a:ea typeface="Avenir Black" charset="0"/>
                <a:cs typeface="Arial" charset="0"/>
              </a:rPr>
              <a:t>$1,6 </a:t>
            </a:r>
            <a:r>
              <a:rPr lang="es-ES_tradnl" b="1" dirty="0" err="1">
                <a:latin typeface="Avenir Roman"/>
                <a:ea typeface="Avenir Black" charset="0"/>
                <a:cs typeface="Arial" charset="0"/>
              </a:rPr>
              <a:t>Bn</a:t>
            </a:r>
            <a:endParaRPr lang="es-ES_tradnl" b="1" dirty="0">
              <a:latin typeface="Avenir Roman"/>
              <a:ea typeface="Avenir Black" charset="0"/>
              <a:cs typeface="Arial" charset="0"/>
            </a:endParaRP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endParaRPr lang="es-ES_tradnl" b="1" dirty="0">
              <a:latin typeface="Avenir Roman"/>
              <a:ea typeface="Avenir Black" charset="0"/>
              <a:cs typeface="Arial" charset="0"/>
            </a:endParaRP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es-ES_tradnl" dirty="0">
                <a:latin typeface="Avenir Roman"/>
                <a:ea typeface="Avenir Black" charset="0"/>
                <a:cs typeface="Arial" charset="0"/>
              </a:rPr>
              <a:t>Se firmó </a:t>
            </a:r>
            <a:r>
              <a:rPr lang="es-ES_tradnl" b="1" dirty="0">
                <a:latin typeface="Avenir Roman"/>
                <a:ea typeface="Avenir Black" charset="0"/>
                <a:cs typeface="Arial" charset="0"/>
              </a:rPr>
              <a:t>acta de inicio de construcción </a:t>
            </a:r>
            <a:r>
              <a:rPr lang="es-ES_tradnl" dirty="0">
                <a:latin typeface="Avenir Roman"/>
                <a:ea typeface="Avenir Black" charset="0"/>
                <a:cs typeface="Arial" charset="0"/>
              </a:rPr>
              <a:t>del proyecto Villavicencio-Yopal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endParaRPr lang="es-ES_tradnl" dirty="0">
              <a:latin typeface="Avenir Roman"/>
              <a:ea typeface="Avenir Black" charset="0"/>
              <a:cs typeface="Arial" charset="0"/>
            </a:endParaRP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es-ES_tradnl" dirty="0">
                <a:latin typeface="Avenir Roman"/>
                <a:ea typeface="Avenir Black" charset="0"/>
                <a:cs typeface="Arial" charset="0"/>
              </a:rPr>
              <a:t>Se hizo un acuerdo para </a:t>
            </a:r>
            <a:r>
              <a:rPr lang="es-ES_tradnl" b="1" dirty="0">
                <a:latin typeface="Avenir Roman"/>
                <a:ea typeface="Avenir Black" charset="0"/>
                <a:cs typeface="Arial" charset="0"/>
              </a:rPr>
              <a:t>acelerar</a:t>
            </a:r>
            <a:r>
              <a:rPr lang="es-ES_tradnl" dirty="0">
                <a:latin typeface="Avenir Roman"/>
                <a:ea typeface="Avenir Black" charset="0"/>
                <a:cs typeface="Arial" charset="0"/>
              </a:rPr>
              <a:t> la construcción del </a:t>
            </a:r>
            <a:r>
              <a:rPr lang="es-ES_tradnl" b="1" dirty="0">
                <a:latin typeface="Avenir Roman"/>
                <a:ea typeface="Avenir Black" charset="0"/>
                <a:cs typeface="Arial" charset="0"/>
              </a:rPr>
              <a:t>viaducto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es-ES_tradnl" b="1" dirty="0">
                <a:latin typeface="Avenir Roman"/>
                <a:ea typeface="Avenir Black" charset="0"/>
                <a:cs typeface="Arial" charset="0"/>
              </a:rPr>
              <a:t>de </a:t>
            </a:r>
            <a:r>
              <a:rPr lang="es-ES_tradnl" b="1" dirty="0" err="1">
                <a:latin typeface="Avenir Roman"/>
                <a:ea typeface="Avenir Black" charset="0"/>
                <a:cs typeface="Arial" charset="0"/>
              </a:rPr>
              <a:t>Chirajara</a:t>
            </a:r>
            <a:r>
              <a:rPr lang="es-ES_tradnl" dirty="0">
                <a:latin typeface="Avenir Roman"/>
                <a:ea typeface="Avenir Black" charset="0"/>
                <a:cs typeface="Arial" charset="0"/>
              </a:rPr>
              <a:t>.</a:t>
            </a:r>
            <a:endParaRPr lang="es-ES_tradnl" dirty="0">
              <a:latin typeface="Avenir Black" charset="0"/>
              <a:ea typeface="Avenir Black" charset="0"/>
              <a:cs typeface="Avenir Black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65655A7F-72AE-4D02-8164-9E2655EA4FD2}"/>
              </a:ext>
            </a:extLst>
          </p:cNvPr>
          <p:cNvSpPr txBox="1"/>
          <p:nvPr/>
        </p:nvSpPr>
        <p:spPr>
          <a:xfrm>
            <a:off x="718744" y="367203"/>
            <a:ext cx="75827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4000" dirty="0">
                <a:solidFill>
                  <a:srgbClr val="173A6F"/>
                </a:solidFill>
                <a:latin typeface="Avenir Roman"/>
                <a:ea typeface="Arial" charset="0"/>
                <a:cs typeface="Arial" charset="0"/>
              </a:rPr>
              <a:t>Los Primeros </a:t>
            </a:r>
            <a:r>
              <a:rPr lang="es-ES_tradnl" sz="4000" b="1" dirty="0">
                <a:solidFill>
                  <a:srgbClr val="173A6F"/>
                </a:solidFill>
                <a:latin typeface="Avenir Black" charset="0"/>
                <a:ea typeface="Avenir Black" charset="0"/>
                <a:cs typeface="Avenir Black" charset="0"/>
              </a:rPr>
              <a:t>100 días</a:t>
            </a:r>
          </a:p>
        </p:txBody>
      </p:sp>
      <p:sp>
        <p:nvSpPr>
          <p:cNvPr id="6" name="Rectángulo 5"/>
          <p:cNvSpPr/>
          <p:nvPr/>
        </p:nvSpPr>
        <p:spPr>
          <a:xfrm>
            <a:off x="0" y="1159851"/>
            <a:ext cx="113016" cy="4572001"/>
          </a:xfrm>
          <a:prstGeom prst="rect">
            <a:avLst/>
          </a:prstGeom>
          <a:solidFill>
            <a:srgbClr val="173A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5394595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/>
          <p:cNvSpPr/>
          <p:nvPr/>
        </p:nvSpPr>
        <p:spPr>
          <a:xfrm>
            <a:off x="1524000" y="4027149"/>
            <a:ext cx="9144000" cy="43183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1" name="Rectángulo 10"/>
          <p:cNvSpPr/>
          <p:nvPr/>
        </p:nvSpPr>
        <p:spPr>
          <a:xfrm>
            <a:off x="4400720" y="-1"/>
            <a:ext cx="3390563" cy="121381"/>
          </a:xfrm>
          <a:prstGeom prst="rect">
            <a:avLst/>
          </a:prstGeom>
          <a:solidFill>
            <a:srgbClr val="173A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2" name="CuadroTexto 11"/>
          <p:cNvSpPr txBox="1"/>
          <p:nvPr/>
        </p:nvSpPr>
        <p:spPr>
          <a:xfrm>
            <a:off x="4542530" y="280956"/>
            <a:ext cx="310694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4800">
                <a:solidFill>
                  <a:srgbClr val="173A6F"/>
                </a:solidFill>
                <a:latin typeface="Avenir Light" charset="0"/>
                <a:ea typeface="Avenir Light" charset="0"/>
                <a:cs typeface="Avenir Light" charset="0"/>
              </a:rPr>
              <a:t>Contenido</a:t>
            </a:r>
            <a:endParaRPr lang="es-ES_tradnl" sz="4800" dirty="0">
              <a:solidFill>
                <a:srgbClr val="173A6F"/>
              </a:solidFill>
              <a:latin typeface="Avenir Light" charset="0"/>
              <a:ea typeface="Avenir Light" charset="0"/>
              <a:cs typeface="Avenir Light" charset="0"/>
            </a:endParaRPr>
          </a:p>
        </p:txBody>
      </p:sp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0F783276-0829-4709-9AD6-40646E2202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69847" y="1777107"/>
            <a:ext cx="8652306" cy="3165625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Contratos a cargo de la ANI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Estado actual contratos 4G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Resultados de la gestión social y ambiental de la ANI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Estado actual de los principales indicadores 2018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Logros primeros 100 días 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latin typeface="Avenir Medium" charset="0"/>
                <a:ea typeface="Avenir Medium" charset="0"/>
                <a:cs typeface="Avenir Medium" charset="0"/>
              </a:rPr>
              <a:t>Metas para el cuatrienio</a:t>
            </a:r>
          </a:p>
        </p:txBody>
      </p:sp>
    </p:spTree>
    <p:extLst>
      <p:ext uri="{BB962C8B-B14F-4D97-AF65-F5344CB8AC3E}">
        <p14:creationId xmlns:p14="http://schemas.microsoft.com/office/powerpoint/2010/main" val="29360304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>
            <a:extLst>
              <a:ext uri="{FF2B5EF4-FFF2-40B4-BE49-F238E27FC236}">
                <a16:creationId xmlns:a16="http://schemas.microsoft.com/office/drawing/2014/main" id="{65655A7F-72AE-4D02-8164-9E2655EA4FD2}"/>
              </a:ext>
            </a:extLst>
          </p:cNvPr>
          <p:cNvSpPr txBox="1"/>
          <p:nvPr/>
        </p:nvSpPr>
        <p:spPr>
          <a:xfrm>
            <a:off x="718744" y="367203"/>
            <a:ext cx="91439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4000" dirty="0">
                <a:solidFill>
                  <a:srgbClr val="173A6F"/>
                </a:solidFill>
                <a:latin typeface="Avenir Roman"/>
                <a:ea typeface="Arial" charset="0"/>
                <a:cs typeface="Arial" charset="0"/>
              </a:rPr>
              <a:t>Metas Cuatrienio </a:t>
            </a: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EE559BDD-3FCD-4151-A67D-9B18ACD2D1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0767799"/>
              </p:ext>
            </p:extLst>
          </p:nvPr>
        </p:nvGraphicFramePr>
        <p:xfrm>
          <a:off x="775252" y="1561874"/>
          <a:ext cx="8398413" cy="37342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386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9896">
                  <a:extLst>
                    <a:ext uri="{9D8B030D-6E8A-4147-A177-3AD203B41FA5}">
                      <a16:colId xmlns:a16="http://schemas.microsoft.com/office/drawing/2014/main" val="2415251420"/>
                    </a:ext>
                  </a:extLst>
                </a:gridCol>
                <a:gridCol w="1379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59509">
                <a:tc>
                  <a:txBody>
                    <a:bodyPr/>
                    <a:lstStyle/>
                    <a:p>
                      <a:pPr algn="ctr"/>
                      <a:endParaRPr lang="es-ES_tradnl" sz="1800" b="1" i="0" dirty="0">
                        <a:latin typeface="Avenir Medium"/>
                        <a:ea typeface="Avenir Heavy" charset="0"/>
                        <a:cs typeface="Avenir Heavy" charset="0"/>
                      </a:endParaRPr>
                    </a:p>
                  </a:txBody>
                  <a:tcPr marL="76190" marR="76190" marT="38095" marB="38095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800" b="1" i="0" dirty="0">
                          <a:latin typeface="Avenir Medium"/>
                          <a:ea typeface="Avenir Heavy" charset="0"/>
                          <a:cs typeface="Avenir Heavy" charset="0"/>
                        </a:rPr>
                        <a:t>Línea Base</a:t>
                      </a:r>
                    </a:p>
                  </a:txBody>
                  <a:tcPr marL="76190" marR="76190" marT="38095" marB="38095" anchor="ctr">
                    <a:solidFill>
                      <a:srgbClr val="E65E0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800" b="1" i="0" dirty="0">
                          <a:latin typeface="Avenir Medium"/>
                          <a:ea typeface="Avenir Heavy" charset="0"/>
                          <a:cs typeface="Avenir Heavy" charset="0"/>
                        </a:rPr>
                        <a:t>META</a:t>
                      </a:r>
                    </a:p>
                  </a:txBody>
                  <a:tcPr marL="76190" marR="76190" marT="38095" marB="38095" anchor="ctr">
                    <a:solidFill>
                      <a:srgbClr val="E65E0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s-ES_tradnl" sz="1800" b="1" i="0" dirty="0">
                          <a:solidFill>
                            <a:schemeClr val="bg1"/>
                          </a:solidFill>
                          <a:latin typeface="Avenir Medium"/>
                          <a:ea typeface="Avenir Heavy" charset="0"/>
                          <a:cs typeface="Avenir Heavy" charset="0"/>
                        </a:rPr>
                        <a:t>INDICADORES</a:t>
                      </a:r>
                    </a:p>
                  </a:txBody>
                  <a:tcPr marL="76190" marR="76190" marT="38095" marB="38095" anchor="ctr">
                    <a:solidFill>
                      <a:srgbClr val="173A6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800" b="1" i="0" dirty="0">
                          <a:solidFill>
                            <a:schemeClr val="bg1"/>
                          </a:solidFill>
                          <a:latin typeface="Avenir Medium"/>
                          <a:ea typeface="Avenir Heavy" charset="0"/>
                          <a:cs typeface="Avenir Heavy" charset="0"/>
                        </a:rPr>
                        <a:t>2018</a:t>
                      </a:r>
                    </a:p>
                  </a:txBody>
                  <a:tcPr marL="76190" marR="76190" marT="38095" marB="38095" anchor="ctr">
                    <a:solidFill>
                      <a:srgbClr val="173A6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_tradnl" sz="1800" b="1" i="0" dirty="0">
                          <a:solidFill>
                            <a:schemeClr val="bg1"/>
                          </a:solidFill>
                          <a:latin typeface="Avenir Medium"/>
                          <a:ea typeface="Avenir Heavy" charset="0"/>
                          <a:cs typeface="Avenir Heavy" charset="0"/>
                        </a:rPr>
                        <a:t>2019-2022</a:t>
                      </a:r>
                    </a:p>
                  </a:txBody>
                  <a:tcPr marL="76190" marR="76190" marT="38095" marB="38095" anchor="ctr">
                    <a:solidFill>
                      <a:srgbClr val="173A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8988"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s-ES" sz="1800" u="none" strike="noStrike" dirty="0">
                          <a:effectLst/>
                          <a:latin typeface="Avenir Medium"/>
                        </a:rPr>
                        <a:t>Proyectos estructurados bajo el esquema APP</a:t>
                      </a:r>
                      <a:endParaRPr lang="es-ES" sz="1800" b="0" i="0" u="none" strike="noStrike" dirty="0">
                        <a:solidFill>
                          <a:srgbClr val="000000"/>
                        </a:solidFill>
                        <a:effectLst/>
                        <a:latin typeface="Avenir Medium"/>
                      </a:endParaRPr>
                    </a:p>
                  </a:txBody>
                  <a:tcPr marL="7312" marR="7312" marT="7312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venir Medium"/>
                        </a:rPr>
                        <a:t>40</a:t>
                      </a:r>
                    </a:p>
                  </a:txBody>
                  <a:tcPr marL="7312" marR="7312" marT="7312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800" u="none" strike="noStrike" dirty="0">
                          <a:effectLst/>
                          <a:latin typeface="Avenir Medium"/>
                        </a:rPr>
                        <a:t>12</a:t>
                      </a:r>
                      <a:endParaRPr lang="es-ES" sz="1800" b="0" i="0" u="none" strike="noStrike" dirty="0">
                        <a:solidFill>
                          <a:srgbClr val="000000"/>
                        </a:solidFill>
                        <a:effectLst/>
                        <a:latin typeface="Avenir Medium"/>
                      </a:endParaRPr>
                    </a:p>
                  </a:txBody>
                  <a:tcPr marL="7312" marR="7312" marT="7312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8988"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s-ES" sz="1800" u="none" strike="noStrike" dirty="0">
                          <a:effectLst/>
                          <a:latin typeface="Avenir Medium"/>
                        </a:rPr>
                        <a:t>Red férrea en condiciones de operación*</a:t>
                      </a:r>
                      <a:endParaRPr lang="es-ES" sz="1800" b="0" i="0" u="none" strike="noStrike" dirty="0">
                        <a:solidFill>
                          <a:srgbClr val="000000"/>
                        </a:solidFill>
                        <a:effectLst/>
                        <a:latin typeface="Avenir Medium"/>
                      </a:endParaRPr>
                    </a:p>
                  </a:txBody>
                  <a:tcPr marL="7312" marR="7312" marT="7312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venir Medium"/>
                        </a:rPr>
                        <a:t>1.375 Km</a:t>
                      </a:r>
                    </a:p>
                  </a:txBody>
                  <a:tcPr marL="7312" marR="7312" marT="7312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800" u="none" strike="noStrike" dirty="0">
                          <a:effectLst/>
                          <a:latin typeface="Avenir Medium"/>
                        </a:rPr>
                        <a:t>147 Km</a:t>
                      </a:r>
                      <a:endParaRPr lang="es-ES" sz="1800" b="0" i="0" u="none" strike="noStrike" dirty="0">
                        <a:solidFill>
                          <a:srgbClr val="000000"/>
                        </a:solidFill>
                        <a:effectLst/>
                        <a:latin typeface="Avenir Medium"/>
                      </a:endParaRPr>
                    </a:p>
                  </a:txBody>
                  <a:tcPr marL="7312" marR="7312" marT="7312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8988"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s-ES" sz="1800" u="none" strike="noStrike" dirty="0">
                          <a:effectLst/>
                          <a:latin typeface="Avenir Medium"/>
                        </a:rPr>
                        <a:t>Vía férrea con operación comercial</a:t>
                      </a:r>
                      <a:endParaRPr lang="es-ES" sz="1800" b="0" i="0" u="none" strike="noStrike" dirty="0">
                        <a:solidFill>
                          <a:srgbClr val="000000"/>
                        </a:solidFill>
                        <a:effectLst/>
                        <a:latin typeface="Avenir Medium"/>
                      </a:endParaRPr>
                    </a:p>
                  </a:txBody>
                  <a:tcPr marL="7312" marR="7312" marT="7312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venir Medium"/>
                        </a:rPr>
                        <a:t>432 Km</a:t>
                      </a:r>
                    </a:p>
                  </a:txBody>
                  <a:tcPr marL="7312" marR="7312" marT="7312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800" u="none" strike="noStrike" dirty="0">
                          <a:effectLst/>
                          <a:latin typeface="Avenir Medium"/>
                        </a:rPr>
                        <a:t>770 Km</a:t>
                      </a:r>
                      <a:endParaRPr lang="es-ES" sz="1800" b="0" i="0" u="none" strike="noStrike" dirty="0">
                        <a:solidFill>
                          <a:srgbClr val="000000"/>
                        </a:solidFill>
                        <a:effectLst/>
                        <a:latin typeface="Avenir Medium"/>
                      </a:endParaRPr>
                    </a:p>
                  </a:txBody>
                  <a:tcPr marL="7312" marR="7312" marT="7312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8552785"/>
                  </a:ext>
                </a:extLst>
              </a:tr>
              <a:tr h="278988"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s-ES" sz="1800" u="none" strike="noStrike" dirty="0">
                          <a:effectLst/>
                          <a:latin typeface="Avenir Medium"/>
                        </a:rPr>
                        <a:t>Proyectos en etapa de operación y mantenimiento  4G</a:t>
                      </a:r>
                      <a:endParaRPr lang="es-ES" sz="1800" b="0" i="0" u="none" strike="noStrike" dirty="0">
                        <a:solidFill>
                          <a:srgbClr val="000000"/>
                        </a:solidFill>
                        <a:effectLst/>
                        <a:latin typeface="Avenir Medium"/>
                      </a:endParaRPr>
                    </a:p>
                  </a:txBody>
                  <a:tcPr marL="7312" marR="7312" marT="7312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venir Medium"/>
                        </a:rPr>
                        <a:t>0</a:t>
                      </a:r>
                    </a:p>
                  </a:txBody>
                  <a:tcPr marL="7312" marR="7312" marT="7312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800" u="none" strike="noStrike" dirty="0">
                          <a:effectLst/>
                          <a:latin typeface="Avenir Medium"/>
                        </a:rPr>
                        <a:t>8</a:t>
                      </a:r>
                      <a:endParaRPr lang="es-ES" sz="1800" b="0" i="0" u="none" strike="noStrike" dirty="0">
                        <a:solidFill>
                          <a:srgbClr val="000000"/>
                        </a:solidFill>
                        <a:effectLst/>
                        <a:latin typeface="Avenir Medium"/>
                      </a:endParaRPr>
                    </a:p>
                  </a:txBody>
                  <a:tcPr marL="7312" marR="7312" marT="7312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8226036"/>
                  </a:ext>
                </a:extLst>
              </a:tr>
              <a:tr h="278988"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s-ES" sz="1800" u="none" strike="noStrike" dirty="0">
                          <a:effectLst/>
                          <a:latin typeface="Avenir Medium"/>
                        </a:rPr>
                        <a:t>Km de red vial construidos bajo esquema concesión</a:t>
                      </a:r>
                      <a:endParaRPr lang="es-ES" sz="1800" b="0" i="0" u="none" strike="noStrike" dirty="0">
                        <a:solidFill>
                          <a:srgbClr val="000000"/>
                        </a:solidFill>
                        <a:effectLst/>
                        <a:latin typeface="Avenir Medium"/>
                      </a:endParaRPr>
                    </a:p>
                  </a:txBody>
                  <a:tcPr marL="7312" marR="7312" marT="7312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venir Medium"/>
                        </a:rPr>
                        <a:t>85,3 Km</a:t>
                      </a:r>
                    </a:p>
                  </a:txBody>
                  <a:tcPr marL="7312" marR="7312" marT="7312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800" u="none" strike="noStrike" dirty="0">
                          <a:effectLst/>
                          <a:latin typeface="Avenir Medium"/>
                        </a:rPr>
                        <a:t>520 Km</a:t>
                      </a:r>
                      <a:endParaRPr lang="es-ES" sz="1800" b="0" i="0" u="none" strike="noStrike" dirty="0">
                        <a:solidFill>
                          <a:srgbClr val="000000"/>
                        </a:solidFill>
                        <a:effectLst/>
                        <a:latin typeface="Avenir Medium"/>
                      </a:endParaRPr>
                    </a:p>
                  </a:txBody>
                  <a:tcPr marL="7312" marR="7312" marT="7312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4803171"/>
                  </a:ext>
                </a:extLst>
              </a:tr>
              <a:tr h="278988"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s-ES" sz="1800" u="none" strike="noStrike" dirty="0">
                          <a:effectLst/>
                          <a:latin typeface="Avenir Medium"/>
                        </a:rPr>
                        <a:t>Km de red vial rehabilitados bajo esquema concesión</a:t>
                      </a:r>
                      <a:endParaRPr lang="es-ES" sz="1800" b="0" i="0" u="none" strike="noStrike" dirty="0">
                        <a:solidFill>
                          <a:srgbClr val="000000"/>
                        </a:solidFill>
                        <a:effectLst/>
                        <a:latin typeface="Avenir Medium"/>
                      </a:endParaRPr>
                    </a:p>
                  </a:txBody>
                  <a:tcPr marL="7312" marR="7312" marT="7312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venir Medium"/>
                        </a:rPr>
                        <a:t>460 Km</a:t>
                      </a:r>
                    </a:p>
                  </a:txBody>
                  <a:tcPr marL="7312" marR="7312" marT="7312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800" u="none" strike="noStrike" dirty="0">
                          <a:effectLst/>
                          <a:latin typeface="Avenir Medium"/>
                        </a:rPr>
                        <a:t>1.146 Km</a:t>
                      </a:r>
                      <a:endParaRPr lang="es-ES" sz="1800" b="0" i="0" u="none" strike="noStrike" dirty="0">
                        <a:solidFill>
                          <a:srgbClr val="000000"/>
                        </a:solidFill>
                        <a:effectLst/>
                        <a:latin typeface="Avenir Medium"/>
                      </a:endParaRPr>
                    </a:p>
                  </a:txBody>
                  <a:tcPr marL="7312" marR="7312" marT="7312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6247240"/>
                  </a:ext>
                </a:extLst>
              </a:tr>
            </a:tbl>
          </a:graphicData>
        </a:graphic>
      </p:graphicFrame>
      <p:sp>
        <p:nvSpPr>
          <p:cNvPr id="2" name="CuadroTexto 1">
            <a:extLst>
              <a:ext uri="{FF2B5EF4-FFF2-40B4-BE49-F238E27FC236}">
                <a16:creationId xmlns:a16="http://schemas.microsoft.com/office/drawing/2014/main" id="{27DB0665-2635-429D-B636-F8B987359E1E}"/>
              </a:ext>
            </a:extLst>
          </p:cNvPr>
          <p:cNvSpPr txBox="1"/>
          <p:nvPr/>
        </p:nvSpPr>
        <p:spPr>
          <a:xfrm>
            <a:off x="775252" y="5782910"/>
            <a:ext cx="75663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dirty="0">
                <a:latin typeface="Avenir Medium" charset="0"/>
                <a:ea typeface="Avenir Medium" charset="0"/>
                <a:cs typeface="Avenir Medium" charset="0"/>
              </a:rPr>
              <a:t>* Corresponde a la construcción de nuevos kilómetros en el proyecto Red Férrea del Pacífico y en el proyecto Dorada – Chiriguaná </a:t>
            </a:r>
          </a:p>
        </p:txBody>
      </p:sp>
      <p:sp>
        <p:nvSpPr>
          <p:cNvPr id="6" name="Rectángulo 5"/>
          <p:cNvSpPr/>
          <p:nvPr/>
        </p:nvSpPr>
        <p:spPr>
          <a:xfrm>
            <a:off x="0" y="1143000"/>
            <a:ext cx="113016" cy="4572001"/>
          </a:xfrm>
          <a:prstGeom prst="rect">
            <a:avLst/>
          </a:prstGeom>
          <a:solidFill>
            <a:srgbClr val="173A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6589005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79" b="29783"/>
          <a:stretch/>
        </p:blipFill>
        <p:spPr>
          <a:xfrm>
            <a:off x="0" y="0"/>
            <a:ext cx="12192000" cy="5769430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2029" y="6129160"/>
            <a:ext cx="4767942" cy="428830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>
            <a:off x="4330133" y="293718"/>
            <a:ext cx="3531736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_tradnl" sz="6000" b="1" dirty="0">
                <a:solidFill>
                  <a:schemeClr val="bg1"/>
                </a:solidFill>
                <a:latin typeface="Avenir Black" charset="0"/>
                <a:ea typeface="Avenir Black" charset="0"/>
                <a:cs typeface="Avenir Black" charset="0"/>
              </a:rPr>
              <a:t>¡Gracias!</a:t>
            </a:r>
          </a:p>
        </p:txBody>
      </p:sp>
    </p:spTree>
    <p:extLst>
      <p:ext uri="{BB962C8B-B14F-4D97-AF65-F5344CB8AC3E}">
        <p14:creationId xmlns:p14="http://schemas.microsoft.com/office/powerpoint/2010/main" val="11668168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4400719" y="-1"/>
            <a:ext cx="3390563" cy="121381"/>
          </a:xfrm>
          <a:prstGeom prst="rect">
            <a:avLst/>
          </a:prstGeom>
          <a:solidFill>
            <a:srgbClr val="173A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2" name="CuadroTexto 11"/>
          <p:cNvSpPr txBox="1"/>
          <p:nvPr/>
        </p:nvSpPr>
        <p:spPr>
          <a:xfrm>
            <a:off x="4542530" y="280956"/>
            <a:ext cx="310694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4800" dirty="0">
                <a:solidFill>
                  <a:srgbClr val="173A6F"/>
                </a:solidFill>
                <a:latin typeface="Avenir Light" charset="0"/>
                <a:ea typeface="Avenir Light" charset="0"/>
                <a:cs typeface="Avenir Light" charset="0"/>
              </a:rPr>
              <a:t>Contenido</a:t>
            </a:r>
          </a:p>
        </p:txBody>
      </p:sp>
      <p:sp>
        <p:nvSpPr>
          <p:cNvPr id="13" name="Marcador de contenido 2">
            <a:extLst>
              <a:ext uri="{FF2B5EF4-FFF2-40B4-BE49-F238E27FC236}">
                <a16:creationId xmlns:a16="http://schemas.microsoft.com/office/drawing/2014/main" id="{0F783276-0829-4709-9AD6-40646E2202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69847" y="1827162"/>
            <a:ext cx="8652306" cy="3165625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s-ES" sz="2400" dirty="0">
                <a:latin typeface="Avenir Medium" charset="0"/>
                <a:ea typeface="Avenir Medium" charset="0"/>
                <a:cs typeface="Avenir Medium" charset="0"/>
              </a:rPr>
              <a:t>Contratos a cargo de la ANI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latin typeface="Avenir Medium" charset="0"/>
                <a:ea typeface="Avenir Medium" charset="0"/>
                <a:cs typeface="Avenir Medium" charset="0"/>
              </a:rPr>
              <a:t>Estado actual contratos 4G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latin typeface="Avenir Medium" charset="0"/>
                <a:ea typeface="Avenir Medium" charset="0"/>
                <a:cs typeface="Avenir Medium" charset="0"/>
              </a:rPr>
              <a:t>Resultados de la gestión social y ambiental de la ANI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latin typeface="Avenir Medium" charset="0"/>
                <a:ea typeface="Avenir Medium" charset="0"/>
                <a:cs typeface="Avenir Medium" charset="0"/>
              </a:rPr>
              <a:t>Estado actual de los principales indicadores 2018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latin typeface="Avenir Medium" charset="0"/>
                <a:ea typeface="Avenir Medium" charset="0"/>
                <a:cs typeface="Avenir Medium" charset="0"/>
              </a:rPr>
              <a:t>Logros primeros 100 días 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latin typeface="Avenir Medium" charset="0"/>
                <a:ea typeface="Avenir Medium" charset="0"/>
                <a:cs typeface="Avenir Medium" charset="0"/>
              </a:rPr>
              <a:t>Metas para el cuatrienio</a:t>
            </a:r>
          </a:p>
        </p:txBody>
      </p:sp>
    </p:spTree>
    <p:extLst>
      <p:ext uri="{BB962C8B-B14F-4D97-AF65-F5344CB8AC3E}">
        <p14:creationId xmlns:p14="http://schemas.microsoft.com/office/powerpoint/2010/main" val="17554369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/>
          <p:cNvSpPr/>
          <p:nvPr/>
        </p:nvSpPr>
        <p:spPr>
          <a:xfrm>
            <a:off x="4400720" y="-1"/>
            <a:ext cx="3390563" cy="121381"/>
          </a:xfrm>
          <a:prstGeom prst="rect">
            <a:avLst/>
          </a:prstGeom>
          <a:solidFill>
            <a:srgbClr val="173A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2" name="CuadroTexto 11"/>
          <p:cNvSpPr txBox="1"/>
          <p:nvPr/>
        </p:nvSpPr>
        <p:spPr>
          <a:xfrm>
            <a:off x="4542531" y="280956"/>
            <a:ext cx="310694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4800">
                <a:solidFill>
                  <a:srgbClr val="173A6F"/>
                </a:solidFill>
                <a:latin typeface="Avenir Light" charset="0"/>
                <a:ea typeface="Avenir Light" charset="0"/>
                <a:cs typeface="Avenir Light" charset="0"/>
              </a:rPr>
              <a:t>Contenido</a:t>
            </a:r>
            <a:endParaRPr lang="es-ES_tradnl" sz="4800" dirty="0">
              <a:solidFill>
                <a:srgbClr val="173A6F"/>
              </a:solidFill>
              <a:latin typeface="Avenir Light" charset="0"/>
              <a:ea typeface="Avenir Light" charset="0"/>
              <a:cs typeface="Avenir Light" charset="0"/>
            </a:endParaRPr>
          </a:p>
        </p:txBody>
      </p:sp>
      <p:sp>
        <p:nvSpPr>
          <p:cNvPr id="13" name="Rectángulo 12"/>
          <p:cNvSpPr/>
          <p:nvPr/>
        </p:nvSpPr>
        <p:spPr>
          <a:xfrm>
            <a:off x="1524000" y="1756559"/>
            <a:ext cx="9144000" cy="43183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0F783276-0829-4709-9AD6-40646E2202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69847" y="1777107"/>
            <a:ext cx="8652306" cy="3165625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s-ES" sz="2400" dirty="0">
                <a:latin typeface="Avenir Medium" charset="0"/>
                <a:ea typeface="Avenir Medium" charset="0"/>
                <a:cs typeface="Avenir Medium" charset="0"/>
              </a:rPr>
              <a:t>Contratos a cargo de la ANI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Estado actual contratos 4G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Resultados de la gestión social y ambiental de la ANI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Estado actual de los principales indicadores 2018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Logros primeros 100 días 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Metas para el cuatrienio</a:t>
            </a:r>
          </a:p>
        </p:txBody>
      </p:sp>
    </p:spTree>
    <p:extLst>
      <p:ext uri="{BB962C8B-B14F-4D97-AF65-F5344CB8AC3E}">
        <p14:creationId xmlns:p14="http://schemas.microsoft.com/office/powerpoint/2010/main" val="35432558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0"/>
          <p:cNvSpPr/>
          <p:nvPr/>
        </p:nvSpPr>
        <p:spPr>
          <a:xfrm>
            <a:off x="-6824" y="1261804"/>
            <a:ext cx="149202" cy="3810000"/>
          </a:xfrm>
          <a:prstGeom prst="rect">
            <a:avLst/>
          </a:prstGeom>
          <a:solidFill>
            <a:srgbClr val="173A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pic>
        <p:nvPicPr>
          <p:cNvPr id="15" name="Imagen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410" y="1499840"/>
            <a:ext cx="1173457" cy="1210574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1728" y="1499840"/>
            <a:ext cx="1173457" cy="1210574"/>
          </a:xfrm>
          <a:prstGeom prst="rect">
            <a:avLst/>
          </a:prstGeom>
        </p:spPr>
      </p:pic>
      <p:pic>
        <p:nvPicPr>
          <p:cNvPr id="17" name="Imagen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9054" y="1499840"/>
            <a:ext cx="1173457" cy="1210574"/>
          </a:xfrm>
          <a:prstGeom prst="rect">
            <a:avLst/>
          </a:prstGeom>
        </p:spPr>
      </p:pic>
      <p:pic>
        <p:nvPicPr>
          <p:cNvPr id="18" name="Imagen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7797" y="1499840"/>
            <a:ext cx="1173457" cy="1210574"/>
          </a:xfrm>
          <a:prstGeom prst="rect">
            <a:avLst/>
          </a:prstGeom>
        </p:spPr>
      </p:pic>
      <p:pic>
        <p:nvPicPr>
          <p:cNvPr id="19" name="Imagen 1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8651" y="1499840"/>
            <a:ext cx="1173457" cy="1210574"/>
          </a:xfrm>
          <a:prstGeom prst="rect">
            <a:avLst/>
          </a:prstGeom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49618572-6417-419A-96DF-97FAC9C6AA52}"/>
              </a:ext>
            </a:extLst>
          </p:cNvPr>
          <p:cNvSpPr txBox="1"/>
          <p:nvPr/>
        </p:nvSpPr>
        <p:spPr>
          <a:xfrm>
            <a:off x="500258" y="2801184"/>
            <a:ext cx="18357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s-ES_tradnl" b="1" dirty="0">
                <a:latin typeface="Avenir Black" charset="0"/>
                <a:ea typeface="Avenir Black" charset="0"/>
                <a:cs typeface="Avenir Black" charset="0"/>
              </a:rPr>
              <a:t>1-3 Generación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48F6C635-4B6D-4C3C-B538-268F2C44D743}"/>
              </a:ext>
            </a:extLst>
          </p:cNvPr>
          <p:cNvSpPr txBox="1"/>
          <p:nvPr/>
        </p:nvSpPr>
        <p:spPr>
          <a:xfrm>
            <a:off x="808837" y="3134898"/>
            <a:ext cx="12186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s-ES_tradnl" sz="1400" dirty="0">
                <a:latin typeface="Avenir Book" charset="0"/>
                <a:ea typeface="Avenir Book" charset="0"/>
                <a:cs typeface="Avenir Book" charset="0"/>
              </a:rPr>
              <a:t>17 proyectos</a:t>
            </a:r>
          </a:p>
          <a:p>
            <a:pPr algn="ctr">
              <a:defRPr/>
            </a:pPr>
            <a:r>
              <a:rPr lang="es-ES_tradnl" sz="1400" dirty="0">
                <a:latin typeface="Avenir Book" charset="0"/>
                <a:ea typeface="Avenir Book" charset="0"/>
                <a:cs typeface="Avenir Book" charset="0"/>
              </a:rPr>
              <a:t>3.600 km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3BFDA9E7-7EB6-4D9A-8B0D-DC6BC10CF451}"/>
              </a:ext>
            </a:extLst>
          </p:cNvPr>
          <p:cNvSpPr txBox="1"/>
          <p:nvPr/>
        </p:nvSpPr>
        <p:spPr>
          <a:xfrm>
            <a:off x="2634164" y="2801184"/>
            <a:ext cx="18485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s-ES_tradnl" b="1" dirty="0">
                <a:latin typeface="Avenir Black" charset="0"/>
                <a:ea typeface="Avenir Black" charset="0"/>
                <a:cs typeface="Avenir Black" charset="0"/>
              </a:rPr>
              <a:t>4ta Generación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C024DE87-F6DB-4793-BD03-82323545D9AB}"/>
              </a:ext>
            </a:extLst>
          </p:cNvPr>
          <p:cNvSpPr txBox="1"/>
          <p:nvPr/>
        </p:nvSpPr>
        <p:spPr>
          <a:xfrm>
            <a:off x="2944346" y="3134898"/>
            <a:ext cx="12282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s-ES_tradnl" sz="1400" dirty="0">
                <a:latin typeface="Avenir Roman" charset="0"/>
                <a:ea typeface="Avenir Roman" charset="0"/>
                <a:cs typeface="Avenir Roman" charset="0"/>
              </a:rPr>
              <a:t>30 proyectos</a:t>
            </a:r>
          </a:p>
          <a:p>
            <a:pPr algn="ctr">
              <a:defRPr/>
            </a:pPr>
            <a:r>
              <a:rPr lang="es-ES_tradnl" sz="1400" dirty="0">
                <a:latin typeface="Avenir Roman" charset="0"/>
                <a:ea typeface="Avenir Roman" charset="0"/>
                <a:cs typeface="Avenir Roman" charset="0"/>
              </a:rPr>
              <a:t>5.000  km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4F73639A-FBD1-42FF-93E4-7293FD79411C}"/>
              </a:ext>
            </a:extLst>
          </p:cNvPr>
          <p:cNvSpPr txBox="1"/>
          <p:nvPr/>
        </p:nvSpPr>
        <p:spPr>
          <a:xfrm>
            <a:off x="4940631" y="2801184"/>
            <a:ext cx="15703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s-ES_tradnl" b="1" dirty="0">
                <a:latin typeface="Avenir Black" charset="0"/>
                <a:ea typeface="Avenir Black" charset="0"/>
                <a:cs typeface="Avenir Black" charset="0"/>
              </a:rPr>
              <a:t>Aeropuertos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6D7DE2C9-31E2-4148-8A36-37B15526AA5D}"/>
              </a:ext>
            </a:extLst>
          </p:cNvPr>
          <p:cNvSpPr txBox="1"/>
          <p:nvPr/>
        </p:nvSpPr>
        <p:spPr>
          <a:xfrm>
            <a:off x="4313648" y="3116187"/>
            <a:ext cx="2824269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sz="1400" dirty="0">
                <a:latin typeface="Avenir Roman" charset="0"/>
                <a:ea typeface="Avenir Roman" charset="0"/>
                <a:cs typeface="Avenir Roman" charset="0"/>
              </a:rPr>
              <a:t>7 Contratos</a:t>
            </a:r>
          </a:p>
          <a:p>
            <a:pPr algn="ctr">
              <a:defRPr/>
            </a:pPr>
            <a:r>
              <a:rPr lang="es-ES_tradnl" sz="1400" dirty="0">
                <a:latin typeface="Avenir Roman" charset="0"/>
                <a:ea typeface="Avenir Roman" charset="0"/>
                <a:cs typeface="Avenir Roman" charset="0"/>
              </a:rPr>
              <a:t>16 Aeropuertos</a:t>
            </a:r>
          </a:p>
          <a:p>
            <a:pPr algn="ctr">
              <a:defRPr/>
            </a:pPr>
            <a:endParaRPr lang="es-ES" sz="1400" dirty="0"/>
          </a:p>
          <a:p>
            <a:pPr algn="ctr">
              <a:defRPr/>
            </a:pPr>
            <a:r>
              <a:rPr lang="es-ES" sz="1400" dirty="0"/>
              <a:t>Se ha triplicado</a:t>
            </a:r>
          </a:p>
          <a:p>
            <a:pPr algn="ctr">
              <a:defRPr/>
            </a:pPr>
            <a:r>
              <a:rPr lang="es-ES" sz="1400" dirty="0"/>
              <a:t>el número de pasajeros</a:t>
            </a:r>
          </a:p>
          <a:p>
            <a:pPr algn="ctr">
              <a:defRPr/>
            </a:pPr>
            <a:r>
              <a:rPr lang="es-ES" sz="1400" dirty="0"/>
              <a:t>nacionales e internacionales</a:t>
            </a:r>
          </a:p>
          <a:p>
            <a:pPr algn="ctr">
              <a:defRPr/>
            </a:pPr>
            <a:r>
              <a:rPr lang="es-ES" sz="1400" dirty="0"/>
              <a:t>en los últimos 10 años </a:t>
            </a: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B3929301-D733-472E-9AD3-574E7A64DD39}"/>
              </a:ext>
            </a:extLst>
          </p:cNvPr>
          <p:cNvSpPr txBox="1"/>
          <p:nvPr/>
        </p:nvSpPr>
        <p:spPr>
          <a:xfrm>
            <a:off x="7026837" y="2801184"/>
            <a:ext cx="14970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b="1" dirty="0">
                <a:latin typeface="Avenir Black" charset="0"/>
                <a:ea typeface="Avenir Black" charset="0"/>
                <a:cs typeface="Avenir Black" charset="0"/>
              </a:rPr>
              <a:t>Red Férrea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ADF50B7A-C132-49EA-A99B-5016D69260C3}"/>
              </a:ext>
            </a:extLst>
          </p:cNvPr>
          <p:cNvSpPr txBox="1"/>
          <p:nvPr/>
        </p:nvSpPr>
        <p:spPr>
          <a:xfrm>
            <a:off x="7060183" y="3166804"/>
            <a:ext cx="143039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s-ES_tradnl" sz="1400" dirty="0">
                <a:latin typeface="Avenir Roman" charset="0"/>
                <a:ea typeface="Avenir Roman" charset="0"/>
                <a:cs typeface="Avenir Roman" charset="0"/>
              </a:rPr>
              <a:t>2 Concesiones</a:t>
            </a:r>
          </a:p>
          <a:p>
            <a:pPr algn="ctr">
              <a:defRPr/>
            </a:pPr>
            <a:r>
              <a:rPr lang="es-ES_tradnl" sz="1400" dirty="0">
                <a:latin typeface="Avenir Roman" charset="0"/>
                <a:ea typeface="Avenir Roman" charset="0"/>
                <a:cs typeface="Avenir Roman" charset="0"/>
              </a:rPr>
              <a:t> 1 Obra pública</a:t>
            </a:r>
          </a:p>
          <a:p>
            <a:pPr algn="ctr">
              <a:defRPr/>
            </a:pPr>
            <a:r>
              <a:rPr lang="es-ES_tradnl" sz="1400" dirty="0">
                <a:latin typeface="Avenir Roman" charset="0"/>
                <a:ea typeface="Avenir Roman" charset="0"/>
                <a:cs typeface="Avenir Roman" charset="0"/>
              </a:rPr>
              <a:t>1.600 km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19705D85-10C7-4DFC-A3E5-7983FD39DB48}"/>
              </a:ext>
            </a:extLst>
          </p:cNvPr>
          <p:cNvSpPr txBox="1"/>
          <p:nvPr/>
        </p:nvSpPr>
        <p:spPr>
          <a:xfrm>
            <a:off x="9243567" y="2801184"/>
            <a:ext cx="11019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b="1" dirty="0">
                <a:latin typeface="Avenir Black" charset="0"/>
                <a:ea typeface="Avenir Black" charset="0"/>
                <a:cs typeface="Avenir Black" charset="0"/>
              </a:rPr>
              <a:t>Puertos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F4D7DD6B-A592-4F7C-A476-73C7701C252C}"/>
              </a:ext>
            </a:extLst>
          </p:cNvPr>
          <p:cNvSpPr txBox="1"/>
          <p:nvPr/>
        </p:nvSpPr>
        <p:spPr>
          <a:xfrm>
            <a:off x="8819032" y="3134979"/>
            <a:ext cx="195098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sz="1400" dirty="0">
                <a:latin typeface="Avenir Roman" charset="0"/>
                <a:ea typeface="Avenir Roman" charset="0"/>
                <a:cs typeface="Avenir Roman" charset="0"/>
              </a:rPr>
              <a:t>8 Zonas portuarias</a:t>
            </a:r>
          </a:p>
          <a:p>
            <a:pPr algn="ctr">
              <a:defRPr/>
            </a:pPr>
            <a:r>
              <a:rPr lang="es-ES_tradnl" sz="1400" dirty="0">
                <a:latin typeface="Avenir Roman" charset="0"/>
                <a:ea typeface="Avenir Roman" charset="0"/>
                <a:cs typeface="Avenir Roman" charset="0"/>
              </a:rPr>
              <a:t>59 Concesiones</a:t>
            </a:r>
          </a:p>
          <a:p>
            <a:pPr algn="ctr">
              <a:defRPr/>
            </a:pPr>
            <a:endParaRPr lang="es-ES_tradnl" sz="1400" dirty="0">
              <a:latin typeface="Avenir Roman" charset="0"/>
              <a:ea typeface="Avenir Roman" charset="0"/>
              <a:cs typeface="Avenir Roman" charset="0"/>
            </a:endParaRPr>
          </a:p>
          <a:p>
            <a:pPr algn="ctr">
              <a:defRPr/>
            </a:pPr>
            <a:r>
              <a:rPr lang="es-ES" sz="1400" dirty="0"/>
              <a:t>Se ha duplicado el volumen de carga en puertos  en los últimos 10 años</a:t>
            </a:r>
          </a:p>
        </p:txBody>
      </p:sp>
      <p:sp>
        <p:nvSpPr>
          <p:cNvPr id="36" name="Rectángulo 35"/>
          <p:cNvSpPr/>
          <p:nvPr/>
        </p:nvSpPr>
        <p:spPr>
          <a:xfrm>
            <a:off x="12042798" y="1261804"/>
            <a:ext cx="149202" cy="3810000"/>
          </a:xfrm>
          <a:prstGeom prst="rect">
            <a:avLst/>
          </a:prstGeom>
          <a:solidFill>
            <a:srgbClr val="173A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6807CAAB-AD65-4B2F-B5A1-A0C31248F5DE}"/>
              </a:ext>
            </a:extLst>
          </p:cNvPr>
          <p:cNvSpPr txBox="1"/>
          <p:nvPr/>
        </p:nvSpPr>
        <p:spPr>
          <a:xfrm>
            <a:off x="500258" y="434519"/>
            <a:ext cx="885664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4400" dirty="0">
                <a:solidFill>
                  <a:srgbClr val="173A6F"/>
                </a:solidFill>
                <a:latin typeface="Avenir Roman"/>
                <a:ea typeface="Arial" charset="0"/>
                <a:cs typeface="Arial" charset="0"/>
              </a:rPr>
              <a:t>Concesiones a cargo de la </a:t>
            </a:r>
            <a:r>
              <a:rPr lang="es-ES_tradnl" sz="4400" b="1" dirty="0">
                <a:solidFill>
                  <a:srgbClr val="173A6F"/>
                </a:solidFill>
                <a:latin typeface="Avenir Black" charset="0"/>
                <a:ea typeface="Avenir Black" charset="0"/>
                <a:cs typeface="Avenir Black" charset="0"/>
              </a:rPr>
              <a:t>ANI</a:t>
            </a:r>
          </a:p>
        </p:txBody>
      </p:sp>
    </p:spTree>
    <p:extLst>
      <p:ext uri="{BB962C8B-B14F-4D97-AF65-F5344CB8AC3E}">
        <p14:creationId xmlns:p14="http://schemas.microsoft.com/office/powerpoint/2010/main" val="9635230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/>
          <p:cNvSpPr/>
          <p:nvPr/>
        </p:nvSpPr>
        <p:spPr>
          <a:xfrm>
            <a:off x="1524000" y="2188074"/>
            <a:ext cx="9144000" cy="43183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1" name="Rectángulo 10"/>
          <p:cNvSpPr/>
          <p:nvPr/>
        </p:nvSpPr>
        <p:spPr>
          <a:xfrm>
            <a:off x="4400720" y="-1"/>
            <a:ext cx="3390563" cy="121381"/>
          </a:xfrm>
          <a:prstGeom prst="rect">
            <a:avLst/>
          </a:prstGeom>
          <a:solidFill>
            <a:srgbClr val="173A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2" name="CuadroTexto 11"/>
          <p:cNvSpPr txBox="1"/>
          <p:nvPr/>
        </p:nvSpPr>
        <p:spPr>
          <a:xfrm>
            <a:off x="4542531" y="280956"/>
            <a:ext cx="310694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4800" dirty="0">
                <a:solidFill>
                  <a:srgbClr val="173A6F"/>
                </a:solidFill>
                <a:latin typeface="Avenir Light" charset="0"/>
                <a:ea typeface="Avenir Light" charset="0"/>
                <a:cs typeface="Avenir Light" charset="0"/>
              </a:rPr>
              <a:t>Contenido</a:t>
            </a:r>
          </a:p>
        </p:txBody>
      </p:sp>
      <p:sp>
        <p:nvSpPr>
          <p:cNvPr id="8" name="Marcador de contenido 2">
            <a:extLst>
              <a:ext uri="{FF2B5EF4-FFF2-40B4-BE49-F238E27FC236}">
                <a16:creationId xmlns:a16="http://schemas.microsoft.com/office/drawing/2014/main" id="{0F783276-0829-4709-9AD6-40646E2202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69847" y="1777107"/>
            <a:ext cx="8652306" cy="3165625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Contratos a cargo de la ANI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latin typeface="Avenir Medium" charset="0"/>
                <a:ea typeface="Avenir Medium" charset="0"/>
                <a:cs typeface="Avenir Medium" charset="0"/>
              </a:rPr>
              <a:t>Estado actual contratos 4G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Resultados de la gestión social y ambiental de la ANI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Estado actual de los principales indicadores 2018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Logros primeros 100 días </a:t>
            </a:r>
          </a:p>
          <a:p>
            <a:pPr marL="457200" indent="-457200">
              <a:buFont typeface="+mj-lt"/>
              <a:buAutoNum type="arabicPeriod"/>
            </a:pPr>
            <a:r>
              <a:rPr lang="es-ES" sz="2400" dirty="0">
                <a:solidFill>
                  <a:schemeClr val="bg1">
                    <a:lumMod val="50000"/>
                  </a:schemeClr>
                </a:solidFill>
                <a:latin typeface="Avenir Medium" charset="0"/>
                <a:ea typeface="Avenir Medium" charset="0"/>
                <a:cs typeface="Avenir Medium" charset="0"/>
              </a:rPr>
              <a:t>Metas para el cuatrienio</a:t>
            </a:r>
          </a:p>
        </p:txBody>
      </p:sp>
    </p:spTree>
    <p:extLst>
      <p:ext uri="{BB962C8B-B14F-4D97-AF65-F5344CB8AC3E}">
        <p14:creationId xmlns:p14="http://schemas.microsoft.com/office/powerpoint/2010/main" val="15757260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ángulo 74"/>
          <p:cNvSpPr/>
          <p:nvPr/>
        </p:nvSpPr>
        <p:spPr>
          <a:xfrm>
            <a:off x="4235270" y="0"/>
            <a:ext cx="399981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1" name="Rectángulo 10"/>
          <p:cNvSpPr/>
          <p:nvPr/>
        </p:nvSpPr>
        <p:spPr>
          <a:xfrm>
            <a:off x="8204029" y="19639"/>
            <a:ext cx="3987971" cy="6858000"/>
          </a:xfrm>
          <a:prstGeom prst="rect">
            <a:avLst/>
          </a:prstGeom>
          <a:solidFill>
            <a:srgbClr val="173A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9" name="Rectángulo 18"/>
          <p:cNvSpPr/>
          <p:nvPr/>
        </p:nvSpPr>
        <p:spPr>
          <a:xfrm rot="2700000">
            <a:off x="8052959" y="269135"/>
            <a:ext cx="270384" cy="2703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9751060A-2649-4898-9FC9-D7B463642A57}"/>
              </a:ext>
            </a:extLst>
          </p:cNvPr>
          <p:cNvSpPr txBox="1"/>
          <p:nvPr/>
        </p:nvSpPr>
        <p:spPr>
          <a:xfrm>
            <a:off x="4491513" y="2341176"/>
            <a:ext cx="3529171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Cartagena-Barranquilla</a:t>
            </a:r>
          </a:p>
          <a:p>
            <a:pPr>
              <a:defRPr/>
            </a:pPr>
            <a:endParaRPr lang="es-ES_tradnl" dirty="0">
              <a:latin typeface="Avenir Black" charset="0"/>
              <a:ea typeface="Avenir Black" charset="0"/>
              <a:cs typeface="Avenir Black" charset="0"/>
            </a:endParaRPr>
          </a:p>
          <a:p>
            <a:pPr>
              <a:defRPr/>
            </a:pP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Girardot-Honda- Puerto Salgar</a:t>
            </a:r>
          </a:p>
          <a:p>
            <a:pPr>
              <a:defRPr/>
            </a:pPr>
            <a:endParaRPr lang="es-ES_tradnl" dirty="0">
              <a:latin typeface="Avenir Black" charset="0"/>
              <a:ea typeface="Avenir Black" charset="0"/>
              <a:cs typeface="Avenir Black" charset="0"/>
            </a:endParaRPr>
          </a:p>
          <a:p>
            <a:pPr>
              <a:defRPr/>
            </a:pP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Pacífico 2</a:t>
            </a:r>
          </a:p>
          <a:p>
            <a:pPr>
              <a:defRPr/>
            </a:pPr>
            <a:endParaRPr lang="es-ES_tradnl" dirty="0">
              <a:latin typeface="Avenir Black" charset="0"/>
              <a:ea typeface="Avenir Black" charset="0"/>
              <a:cs typeface="Avenir Black" charset="0"/>
            </a:endParaRPr>
          </a:p>
          <a:p>
            <a:pPr>
              <a:defRPr/>
            </a:pP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Pacífico 3</a:t>
            </a:r>
          </a:p>
          <a:p>
            <a:pPr>
              <a:defRPr/>
            </a:pPr>
            <a:endParaRPr lang="es-ES_tradnl" dirty="0">
              <a:latin typeface="Avenir Black" charset="0"/>
              <a:ea typeface="Avenir Black" charset="0"/>
              <a:cs typeface="Avenir Black" charset="0"/>
            </a:endParaRPr>
          </a:p>
          <a:p>
            <a:pPr>
              <a:defRPr/>
            </a:pPr>
            <a:r>
              <a:rPr lang="es-ES_tradnl" dirty="0" err="1">
                <a:latin typeface="Avenir Black" charset="0"/>
                <a:ea typeface="Avenir Black" charset="0"/>
                <a:cs typeface="Avenir Black" charset="0"/>
              </a:rPr>
              <a:t>Chirajara</a:t>
            </a: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-Villavicencio </a:t>
            </a:r>
          </a:p>
          <a:p>
            <a:pPr>
              <a:defRPr/>
            </a:pPr>
            <a:endParaRPr lang="es-ES_tradnl" dirty="0">
              <a:latin typeface="Avenir Black" charset="0"/>
              <a:ea typeface="Avenir Black" charset="0"/>
              <a:cs typeface="Avenir Black" charset="0"/>
            </a:endParaRPr>
          </a:p>
          <a:p>
            <a:pPr>
              <a:defRPr/>
            </a:pP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Girardot-Ibagué-Cajamarca</a:t>
            </a:r>
          </a:p>
          <a:p>
            <a:pPr>
              <a:defRPr/>
            </a:pP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(GICA)</a:t>
            </a: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6AB51598-B80B-4E4A-80FD-A05D74E02993}"/>
              </a:ext>
            </a:extLst>
          </p:cNvPr>
          <p:cNvSpPr/>
          <p:nvPr/>
        </p:nvSpPr>
        <p:spPr>
          <a:xfrm>
            <a:off x="9078835" y="364685"/>
            <a:ext cx="240378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$10,3Bn Capex </a:t>
            </a:r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A23B88B7-C745-4CA8-B3C3-34FF1D5FF81E}"/>
              </a:ext>
            </a:extLst>
          </p:cNvPr>
          <p:cNvSpPr/>
          <p:nvPr/>
        </p:nvSpPr>
        <p:spPr>
          <a:xfrm>
            <a:off x="9077477" y="1135415"/>
            <a:ext cx="24064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$10,7Bn </a:t>
            </a:r>
            <a:r>
              <a:rPr lang="es-ES" sz="2400" b="1" dirty="0" err="1">
                <a:solidFill>
                  <a:schemeClr val="bg1"/>
                </a:solidFill>
                <a:latin typeface="Avenir Black" charset="0"/>
              </a:rPr>
              <a:t>Opex</a:t>
            </a:r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 </a:t>
            </a:r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id="{38EA7B46-6902-4C24-8BFF-FEBC03A9B473}"/>
              </a:ext>
            </a:extLst>
          </p:cNvPr>
          <p:cNvSpPr/>
          <p:nvPr/>
        </p:nvSpPr>
        <p:spPr>
          <a:xfrm>
            <a:off x="9077477" y="1953900"/>
            <a:ext cx="24064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$1,8Bn </a:t>
            </a:r>
            <a:r>
              <a:rPr lang="es-ES" sz="2400" b="1" dirty="0" err="1">
                <a:solidFill>
                  <a:schemeClr val="bg1"/>
                </a:solidFill>
                <a:latin typeface="Avenir Black" charset="0"/>
              </a:rPr>
              <a:t>Equity</a:t>
            </a:r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 </a:t>
            </a:r>
          </a:p>
        </p:txBody>
      </p:sp>
      <p:sp>
        <p:nvSpPr>
          <p:cNvPr id="65" name="Rectángulo 64">
            <a:extLst>
              <a:ext uri="{FF2B5EF4-FFF2-40B4-BE49-F238E27FC236}">
                <a16:creationId xmlns:a16="http://schemas.microsoft.com/office/drawing/2014/main" id="{C938877E-91AE-4F53-A884-DE690294546C}"/>
              </a:ext>
            </a:extLst>
          </p:cNvPr>
          <p:cNvSpPr/>
          <p:nvPr/>
        </p:nvSpPr>
        <p:spPr>
          <a:xfrm>
            <a:off x="9078834" y="2648809"/>
            <a:ext cx="24037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$8Bn Deuda </a:t>
            </a:r>
          </a:p>
        </p:txBody>
      </p:sp>
      <p:sp>
        <p:nvSpPr>
          <p:cNvPr id="66" name="Rectángulo 65">
            <a:extLst>
              <a:ext uri="{FF2B5EF4-FFF2-40B4-BE49-F238E27FC236}">
                <a16:creationId xmlns:a16="http://schemas.microsoft.com/office/drawing/2014/main" id="{7B3DC0B8-F5F3-4AE2-A00A-4DE821F169F2}"/>
              </a:ext>
            </a:extLst>
          </p:cNvPr>
          <p:cNvSpPr/>
          <p:nvPr/>
        </p:nvSpPr>
        <p:spPr>
          <a:xfrm>
            <a:off x="9072857" y="3355889"/>
            <a:ext cx="241573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$4,3Bn Desembolsos </a:t>
            </a:r>
          </a:p>
        </p:txBody>
      </p:sp>
      <p:sp>
        <p:nvSpPr>
          <p:cNvPr id="79" name="Rectángulo 78"/>
          <p:cNvSpPr/>
          <p:nvPr/>
        </p:nvSpPr>
        <p:spPr>
          <a:xfrm rot="2700000">
            <a:off x="4116067" y="269135"/>
            <a:ext cx="270384" cy="2703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8" name="CuadroTexto 17"/>
          <p:cNvSpPr txBox="1"/>
          <p:nvPr/>
        </p:nvSpPr>
        <p:spPr>
          <a:xfrm>
            <a:off x="4385753" y="910775"/>
            <a:ext cx="3451586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2800" b="1" dirty="0">
                <a:latin typeface="Avenir Black" charset="0"/>
                <a:ea typeface="Avenir Black" charset="0"/>
                <a:cs typeface="Avenir Black" charset="0"/>
              </a:rPr>
              <a:t>Proyectos con</a:t>
            </a:r>
          </a:p>
          <a:p>
            <a:r>
              <a:rPr lang="es-ES_tradnl" sz="2800" b="1" dirty="0">
                <a:latin typeface="Avenir Black" charset="0"/>
                <a:ea typeface="Avenir Black" charset="0"/>
                <a:cs typeface="Avenir Black" charset="0"/>
              </a:rPr>
              <a:t>ejecución avanzada</a:t>
            </a:r>
          </a:p>
        </p:txBody>
      </p:sp>
      <p:sp>
        <p:nvSpPr>
          <p:cNvPr id="21" name="CuadroTexto 20"/>
          <p:cNvSpPr txBox="1"/>
          <p:nvPr/>
        </p:nvSpPr>
        <p:spPr>
          <a:xfrm>
            <a:off x="4468241" y="146466"/>
            <a:ext cx="68480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4400" b="1">
                <a:latin typeface="Avenir Black" charset="0"/>
                <a:ea typeface="Avenir Black" charset="0"/>
                <a:cs typeface="Avenir Black" charset="0"/>
              </a:rPr>
              <a:t>1.</a:t>
            </a:r>
          </a:p>
        </p:txBody>
      </p:sp>
      <p:cxnSp>
        <p:nvCxnSpPr>
          <p:cNvPr id="80" name="Conector recto 79"/>
          <p:cNvCxnSpPr/>
          <p:nvPr/>
        </p:nvCxnSpPr>
        <p:spPr>
          <a:xfrm>
            <a:off x="9315165" y="946020"/>
            <a:ext cx="193111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 recto 80"/>
          <p:cNvCxnSpPr/>
          <p:nvPr/>
        </p:nvCxnSpPr>
        <p:spPr>
          <a:xfrm>
            <a:off x="9315165" y="1790374"/>
            <a:ext cx="193111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ector recto 81"/>
          <p:cNvCxnSpPr/>
          <p:nvPr/>
        </p:nvCxnSpPr>
        <p:spPr>
          <a:xfrm>
            <a:off x="9315165" y="2511863"/>
            <a:ext cx="193111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ector recto 82"/>
          <p:cNvCxnSpPr/>
          <p:nvPr/>
        </p:nvCxnSpPr>
        <p:spPr>
          <a:xfrm>
            <a:off x="9315165" y="3216188"/>
            <a:ext cx="193111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uadroTexto 24">
            <a:extLst>
              <a:ext uri="{FF2B5EF4-FFF2-40B4-BE49-F238E27FC236}">
                <a16:creationId xmlns:a16="http://schemas.microsoft.com/office/drawing/2014/main" id="{03A06721-F956-41A7-B639-5A6AA259B09C}"/>
              </a:ext>
            </a:extLst>
          </p:cNvPr>
          <p:cNvSpPr txBox="1"/>
          <p:nvPr/>
        </p:nvSpPr>
        <p:spPr>
          <a:xfrm>
            <a:off x="448289" y="1883749"/>
            <a:ext cx="3498073" cy="28007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_tradnl" sz="4400" dirty="0">
                <a:solidFill>
                  <a:srgbClr val="173A6F"/>
                </a:solidFill>
                <a:latin typeface="Avenir Roman"/>
                <a:ea typeface="Arial" charset="0"/>
                <a:cs typeface="Arial" charset="0"/>
              </a:rPr>
              <a:t>Estado</a:t>
            </a:r>
          </a:p>
          <a:p>
            <a:pPr>
              <a:defRPr/>
            </a:pPr>
            <a:r>
              <a:rPr lang="es-ES_tradnl" sz="4400" dirty="0">
                <a:solidFill>
                  <a:srgbClr val="173A6F"/>
                </a:solidFill>
                <a:latin typeface="Avenir Roman"/>
                <a:ea typeface="Arial" charset="0"/>
                <a:cs typeface="Arial" charset="0"/>
              </a:rPr>
              <a:t>actual </a:t>
            </a:r>
          </a:p>
          <a:p>
            <a:pPr>
              <a:defRPr/>
            </a:pPr>
            <a:r>
              <a:rPr lang="es-ES_tradnl" sz="4400" b="1" dirty="0">
                <a:solidFill>
                  <a:srgbClr val="173A6F"/>
                </a:solidFill>
                <a:latin typeface="Avenir Black" charset="0"/>
                <a:ea typeface="Avenir Black" charset="0"/>
                <a:cs typeface="Avenir Black" charset="0"/>
              </a:rPr>
              <a:t>Concesiones</a:t>
            </a:r>
          </a:p>
          <a:p>
            <a:pPr>
              <a:defRPr/>
            </a:pPr>
            <a:r>
              <a:rPr lang="es-ES_tradnl" sz="4400" b="1" dirty="0">
                <a:solidFill>
                  <a:srgbClr val="173A6F"/>
                </a:solidFill>
                <a:latin typeface="Avenir Black" charset="0"/>
                <a:ea typeface="Avenir Black" charset="0"/>
                <a:cs typeface="Avenir Black" charset="0"/>
              </a:rPr>
              <a:t>4G</a:t>
            </a:r>
          </a:p>
        </p:txBody>
      </p:sp>
      <p:sp>
        <p:nvSpPr>
          <p:cNvPr id="26" name="CuadroTexto 25"/>
          <p:cNvSpPr txBox="1"/>
          <p:nvPr/>
        </p:nvSpPr>
        <p:spPr>
          <a:xfrm>
            <a:off x="503197" y="5231957"/>
            <a:ext cx="2450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3200" b="1">
                <a:latin typeface="Avenir Heavy" charset="0"/>
                <a:ea typeface="Avenir Heavy" charset="0"/>
                <a:cs typeface="Avenir Heavy" charset="0"/>
              </a:rPr>
              <a:t>6 proyectos</a:t>
            </a:r>
          </a:p>
        </p:txBody>
      </p:sp>
      <p:sp>
        <p:nvSpPr>
          <p:cNvPr id="28" name="Triángulo 27"/>
          <p:cNvSpPr/>
          <p:nvPr/>
        </p:nvSpPr>
        <p:spPr>
          <a:xfrm rot="10800000">
            <a:off x="617497" y="4606532"/>
            <a:ext cx="274123" cy="189395"/>
          </a:xfrm>
          <a:prstGeom prst="triangle">
            <a:avLst/>
          </a:prstGeom>
          <a:solidFill>
            <a:srgbClr val="E65E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6887848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ángulo 74"/>
          <p:cNvSpPr/>
          <p:nvPr/>
        </p:nvSpPr>
        <p:spPr>
          <a:xfrm>
            <a:off x="4235270" y="0"/>
            <a:ext cx="399981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1" name="Rectángulo 10"/>
          <p:cNvSpPr/>
          <p:nvPr/>
        </p:nvSpPr>
        <p:spPr>
          <a:xfrm>
            <a:off x="8197450" y="0"/>
            <a:ext cx="3994550" cy="6858000"/>
          </a:xfrm>
          <a:prstGeom prst="rect">
            <a:avLst/>
          </a:prstGeom>
          <a:solidFill>
            <a:srgbClr val="173A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9" name="Rectángulo 18"/>
          <p:cNvSpPr/>
          <p:nvPr/>
        </p:nvSpPr>
        <p:spPr>
          <a:xfrm rot="2700000">
            <a:off x="8052959" y="269135"/>
            <a:ext cx="270384" cy="2703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06657C39-BE06-4427-A7B2-3B9E3A6A6F08}"/>
              </a:ext>
            </a:extLst>
          </p:cNvPr>
          <p:cNvSpPr/>
          <p:nvPr/>
        </p:nvSpPr>
        <p:spPr>
          <a:xfrm>
            <a:off x="2616292" y="1179443"/>
            <a:ext cx="2696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/>
            <a:r>
              <a:rPr lang="es-CO" sz="2400" b="1" dirty="0">
                <a:solidFill>
                  <a:srgbClr val="033C72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6AB51598-B80B-4E4A-80FD-A05D74E02993}"/>
              </a:ext>
            </a:extLst>
          </p:cNvPr>
          <p:cNvSpPr/>
          <p:nvPr/>
        </p:nvSpPr>
        <p:spPr>
          <a:xfrm>
            <a:off x="9066156" y="272204"/>
            <a:ext cx="240378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$19,7Bn Capex </a:t>
            </a:r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A23B88B7-C745-4CA8-B3C3-34FF1D5FF81E}"/>
              </a:ext>
            </a:extLst>
          </p:cNvPr>
          <p:cNvSpPr/>
          <p:nvPr/>
        </p:nvSpPr>
        <p:spPr>
          <a:xfrm>
            <a:off x="9064798" y="1042934"/>
            <a:ext cx="24064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$18,7Bn </a:t>
            </a:r>
            <a:r>
              <a:rPr lang="es-ES" sz="2400" b="1" dirty="0" err="1">
                <a:solidFill>
                  <a:schemeClr val="bg1"/>
                </a:solidFill>
                <a:latin typeface="Avenir Black" charset="0"/>
              </a:rPr>
              <a:t>Opex</a:t>
            </a:r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 </a:t>
            </a:r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id="{38EA7B46-6902-4C24-8BFF-FEBC03A9B473}"/>
              </a:ext>
            </a:extLst>
          </p:cNvPr>
          <p:cNvSpPr/>
          <p:nvPr/>
        </p:nvSpPr>
        <p:spPr>
          <a:xfrm>
            <a:off x="9064798" y="1861419"/>
            <a:ext cx="24064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$3,1Bn </a:t>
            </a:r>
            <a:r>
              <a:rPr lang="es-ES" sz="2400" b="1" dirty="0" err="1">
                <a:solidFill>
                  <a:schemeClr val="bg1"/>
                </a:solidFill>
                <a:latin typeface="Avenir Black" charset="0"/>
              </a:rPr>
              <a:t>Equity</a:t>
            </a:r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 </a:t>
            </a:r>
          </a:p>
        </p:txBody>
      </p:sp>
      <p:sp>
        <p:nvSpPr>
          <p:cNvPr id="65" name="Rectángulo 64">
            <a:extLst>
              <a:ext uri="{FF2B5EF4-FFF2-40B4-BE49-F238E27FC236}">
                <a16:creationId xmlns:a16="http://schemas.microsoft.com/office/drawing/2014/main" id="{C938877E-91AE-4F53-A884-DE690294546C}"/>
              </a:ext>
            </a:extLst>
          </p:cNvPr>
          <p:cNvSpPr/>
          <p:nvPr/>
        </p:nvSpPr>
        <p:spPr>
          <a:xfrm>
            <a:off x="9066155" y="2556328"/>
            <a:ext cx="24037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$9Bn Deuda </a:t>
            </a:r>
          </a:p>
        </p:txBody>
      </p:sp>
      <p:sp>
        <p:nvSpPr>
          <p:cNvPr id="66" name="Rectángulo 65">
            <a:extLst>
              <a:ext uri="{FF2B5EF4-FFF2-40B4-BE49-F238E27FC236}">
                <a16:creationId xmlns:a16="http://schemas.microsoft.com/office/drawing/2014/main" id="{7B3DC0B8-F5F3-4AE2-A00A-4DE821F169F2}"/>
              </a:ext>
            </a:extLst>
          </p:cNvPr>
          <p:cNvSpPr/>
          <p:nvPr/>
        </p:nvSpPr>
        <p:spPr>
          <a:xfrm>
            <a:off x="9060178" y="3263408"/>
            <a:ext cx="241573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$1,9Bn Desembolsos </a:t>
            </a:r>
          </a:p>
        </p:txBody>
      </p:sp>
      <p:sp>
        <p:nvSpPr>
          <p:cNvPr id="79" name="Rectángulo 78"/>
          <p:cNvSpPr/>
          <p:nvPr/>
        </p:nvSpPr>
        <p:spPr>
          <a:xfrm rot="2700000">
            <a:off x="4116067" y="269135"/>
            <a:ext cx="270384" cy="2703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8" name="CuadroTexto 17"/>
          <p:cNvSpPr txBox="1"/>
          <p:nvPr/>
        </p:nvSpPr>
        <p:spPr>
          <a:xfrm>
            <a:off x="4385753" y="910774"/>
            <a:ext cx="34515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2800" b="1">
                <a:latin typeface="Avenir Black" charset="0"/>
                <a:ea typeface="Avenir Black" charset="0"/>
                <a:cs typeface="Avenir Black" charset="0"/>
              </a:rPr>
              <a:t>Proyectos iniciados</a:t>
            </a:r>
            <a:endParaRPr lang="es-ES_tradnl" sz="2800" b="1" dirty="0">
              <a:latin typeface="Avenir Black" charset="0"/>
              <a:ea typeface="Avenir Black" charset="0"/>
              <a:cs typeface="Avenir Black" charset="0"/>
            </a:endParaRPr>
          </a:p>
        </p:txBody>
      </p:sp>
      <p:sp>
        <p:nvSpPr>
          <p:cNvPr id="21" name="CuadroTexto 20"/>
          <p:cNvSpPr txBox="1"/>
          <p:nvPr/>
        </p:nvSpPr>
        <p:spPr>
          <a:xfrm>
            <a:off x="4468241" y="146466"/>
            <a:ext cx="68480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4400" b="1" dirty="0">
                <a:latin typeface="Avenir Black" charset="0"/>
                <a:ea typeface="Avenir Black" charset="0"/>
                <a:cs typeface="Avenir Black" charset="0"/>
              </a:rPr>
              <a:t>2.</a:t>
            </a:r>
          </a:p>
        </p:txBody>
      </p:sp>
      <p:cxnSp>
        <p:nvCxnSpPr>
          <p:cNvPr id="80" name="Conector recto 79"/>
          <p:cNvCxnSpPr/>
          <p:nvPr/>
        </p:nvCxnSpPr>
        <p:spPr>
          <a:xfrm>
            <a:off x="9302486" y="853539"/>
            <a:ext cx="193111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 recto 80"/>
          <p:cNvCxnSpPr/>
          <p:nvPr/>
        </p:nvCxnSpPr>
        <p:spPr>
          <a:xfrm>
            <a:off x="9302486" y="1697893"/>
            <a:ext cx="193111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ector recto 81"/>
          <p:cNvCxnSpPr/>
          <p:nvPr/>
        </p:nvCxnSpPr>
        <p:spPr>
          <a:xfrm>
            <a:off x="9302486" y="2419382"/>
            <a:ext cx="193111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ector recto 82"/>
          <p:cNvCxnSpPr/>
          <p:nvPr/>
        </p:nvCxnSpPr>
        <p:spPr>
          <a:xfrm>
            <a:off x="9302486" y="3123707"/>
            <a:ext cx="193111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uadroTexto 54">
            <a:extLst>
              <a:ext uri="{FF2B5EF4-FFF2-40B4-BE49-F238E27FC236}">
                <a16:creationId xmlns:a16="http://schemas.microsoft.com/office/drawing/2014/main" id="{9751060A-2649-4898-9FC9-D7B463642A57}"/>
              </a:ext>
            </a:extLst>
          </p:cNvPr>
          <p:cNvSpPr txBox="1"/>
          <p:nvPr/>
        </p:nvSpPr>
        <p:spPr>
          <a:xfrm>
            <a:off x="4728575" y="1595245"/>
            <a:ext cx="2714846" cy="50353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Perimetral del oriente</a:t>
            </a:r>
          </a:p>
          <a:p>
            <a:pPr>
              <a:lnSpc>
                <a:spcPct val="150000"/>
              </a:lnSpc>
              <a:defRPr/>
            </a:pP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Pacifico 1</a:t>
            </a:r>
          </a:p>
          <a:p>
            <a:pPr>
              <a:lnSpc>
                <a:spcPct val="150000"/>
              </a:lnSpc>
              <a:defRPr/>
            </a:pP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Conexión norte</a:t>
            </a:r>
          </a:p>
          <a:p>
            <a:pPr>
              <a:lnSpc>
                <a:spcPct val="150000"/>
              </a:lnSpc>
              <a:defRPr/>
            </a:pP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Puerta de Hierro</a:t>
            </a:r>
          </a:p>
          <a:p>
            <a:pPr>
              <a:lnSpc>
                <a:spcPct val="150000"/>
              </a:lnSpc>
              <a:defRPr/>
            </a:pP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Sisga-El Secreto</a:t>
            </a:r>
          </a:p>
          <a:p>
            <a:pPr>
              <a:lnSpc>
                <a:spcPct val="150000"/>
              </a:lnSpc>
              <a:defRPr/>
            </a:pP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Rumichaca-Pasto</a:t>
            </a:r>
          </a:p>
          <a:p>
            <a:pPr>
              <a:lnSpc>
                <a:spcPct val="150000"/>
              </a:lnSpc>
              <a:defRPr/>
            </a:pP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B/manga – B/</a:t>
            </a:r>
            <a:r>
              <a:rPr lang="es-ES_tradnl" dirty="0" err="1">
                <a:latin typeface="Avenir Black" charset="0"/>
                <a:ea typeface="Avenir Black" charset="0"/>
                <a:cs typeface="Avenir Black" charset="0"/>
              </a:rPr>
              <a:t>rranca</a:t>
            </a: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-Yondó</a:t>
            </a:r>
          </a:p>
          <a:p>
            <a:pPr>
              <a:lnSpc>
                <a:spcPct val="150000"/>
              </a:lnSpc>
              <a:defRPr/>
            </a:pP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Antioquia-Bolívar</a:t>
            </a:r>
          </a:p>
          <a:p>
            <a:pPr>
              <a:lnSpc>
                <a:spcPct val="150000"/>
              </a:lnSpc>
              <a:defRPr/>
            </a:pP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Villavicencio-Yopal</a:t>
            </a:r>
          </a:p>
          <a:p>
            <a:pPr>
              <a:lnSpc>
                <a:spcPct val="150000"/>
              </a:lnSpc>
              <a:defRPr/>
            </a:pP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Bogotá-Girardot</a:t>
            </a:r>
          </a:p>
          <a:p>
            <a:pPr>
              <a:lnSpc>
                <a:spcPct val="150000"/>
              </a:lnSpc>
              <a:defRPr/>
            </a:pP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Pamplona-Cúcuta</a:t>
            </a:r>
          </a:p>
          <a:p>
            <a:pPr>
              <a:lnSpc>
                <a:spcPct val="150000"/>
              </a:lnSpc>
              <a:defRPr/>
            </a:pPr>
            <a:r>
              <a:rPr lang="es-ES_tradnl" dirty="0">
                <a:latin typeface="Avenir Black" charset="0"/>
                <a:ea typeface="Avenir Black" charset="0"/>
                <a:cs typeface="Avenir Black" charset="0"/>
              </a:rPr>
              <a:t>Neiva-Espinal-Girardot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03A06721-F956-41A7-B639-5A6AA259B09C}"/>
              </a:ext>
            </a:extLst>
          </p:cNvPr>
          <p:cNvSpPr txBox="1"/>
          <p:nvPr/>
        </p:nvSpPr>
        <p:spPr>
          <a:xfrm>
            <a:off x="448289" y="1883749"/>
            <a:ext cx="3498073" cy="28007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_tradnl" sz="4400" dirty="0">
                <a:solidFill>
                  <a:srgbClr val="173A6F"/>
                </a:solidFill>
                <a:latin typeface="Avenir Roman"/>
                <a:ea typeface="Arial" charset="0"/>
                <a:cs typeface="Arial" charset="0"/>
              </a:rPr>
              <a:t>Estado</a:t>
            </a:r>
          </a:p>
          <a:p>
            <a:pPr>
              <a:defRPr/>
            </a:pPr>
            <a:r>
              <a:rPr lang="es-ES_tradnl" sz="4400" dirty="0">
                <a:solidFill>
                  <a:srgbClr val="173A6F"/>
                </a:solidFill>
                <a:latin typeface="Avenir Roman"/>
                <a:ea typeface="Arial" charset="0"/>
                <a:cs typeface="Arial" charset="0"/>
              </a:rPr>
              <a:t>actual </a:t>
            </a:r>
          </a:p>
          <a:p>
            <a:pPr>
              <a:defRPr/>
            </a:pPr>
            <a:r>
              <a:rPr lang="es-ES_tradnl" sz="4400" b="1" dirty="0">
                <a:solidFill>
                  <a:srgbClr val="173A6F"/>
                </a:solidFill>
                <a:latin typeface="Avenir Black" charset="0"/>
                <a:ea typeface="Avenir Black" charset="0"/>
                <a:cs typeface="Avenir Black" charset="0"/>
              </a:rPr>
              <a:t>Concesiones</a:t>
            </a:r>
          </a:p>
          <a:p>
            <a:pPr>
              <a:defRPr/>
            </a:pPr>
            <a:r>
              <a:rPr lang="es-ES_tradnl" sz="4400" b="1" dirty="0">
                <a:solidFill>
                  <a:srgbClr val="173A6F"/>
                </a:solidFill>
                <a:latin typeface="Avenir Black" charset="0"/>
                <a:ea typeface="Avenir Black" charset="0"/>
                <a:cs typeface="Avenir Black" charset="0"/>
              </a:rPr>
              <a:t>4G</a:t>
            </a:r>
          </a:p>
        </p:txBody>
      </p:sp>
      <p:sp>
        <p:nvSpPr>
          <p:cNvPr id="33" name="CuadroTexto 32"/>
          <p:cNvSpPr txBox="1"/>
          <p:nvPr/>
        </p:nvSpPr>
        <p:spPr>
          <a:xfrm>
            <a:off x="503197" y="5231957"/>
            <a:ext cx="269400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3200" b="1">
                <a:latin typeface="Avenir Heavy" charset="0"/>
                <a:ea typeface="Avenir Heavy" charset="0"/>
                <a:cs typeface="Avenir Heavy" charset="0"/>
              </a:rPr>
              <a:t>12 proyectos</a:t>
            </a:r>
          </a:p>
        </p:txBody>
      </p:sp>
      <p:sp>
        <p:nvSpPr>
          <p:cNvPr id="34" name="Triángulo 33"/>
          <p:cNvSpPr/>
          <p:nvPr/>
        </p:nvSpPr>
        <p:spPr>
          <a:xfrm rot="10800000">
            <a:off x="617497" y="4606532"/>
            <a:ext cx="274123" cy="189395"/>
          </a:xfrm>
          <a:prstGeom prst="triangle">
            <a:avLst/>
          </a:prstGeom>
          <a:solidFill>
            <a:srgbClr val="E65E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5733735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ángulo 74"/>
          <p:cNvSpPr/>
          <p:nvPr/>
        </p:nvSpPr>
        <p:spPr>
          <a:xfrm>
            <a:off x="4235270" y="0"/>
            <a:ext cx="399981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1" name="Rectángulo 10"/>
          <p:cNvSpPr/>
          <p:nvPr/>
        </p:nvSpPr>
        <p:spPr>
          <a:xfrm>
            <a:off x="8197450" y="0"/>
            <a:ext cx="3994550" cy="6858000"/>
          </a:xfrm>
          <a:prstGeom prst="rect">
            <a:avLst/>
          </a:prstGeom>
          <a:solidFill>
            <a:srgbClr val="173A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9" name="Rectángulo 18"/>
          <p:cNvSpPr/>
          <p:nvPr/>
        </p:nvSpPr>
        <p:spPr>
          <a:xfrm rot="2700000">
            <a:off x="8052959" y="269135"/>
            <a:ext cx="270384" cy="2703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06657C39-BE06-4427-A7B2-3B9E3A6A6F08}"/>
              </a:ext>
            </a:extLst>
          </p:cNvPr>
          <p:cNvSpPr/>
          <p:nvPr/>
        </p:nvSpPr>
        <p:spPr>
          <a:xfrm>
            <a:off x="2616292" y="1179443"/>
            <a:ext cx="2696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/>
            <a:r>
              <a:rPr lang="es-CO" sz="2400" b="1" dirty="0">
                <a:solidFill>
                  <a:srgbClr val="033C72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6AB51598-B80B-4E4A-80FD-A05D74E02993}"/>
              </a:ext>
            </a:extLst>
          </p:cNvPr>
          <p:cNvSpPr/>
          <p:nvPr/>
        </p:nvSpPr>
        <p:spPr>
          <a:xfrm>
            <a:off x="9042235" y="317719"/>
            <a:ext cx="240378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$6,4Bn Capex </a:t>
            </a:r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A23B88B7-C745-4CA8-B3C3-34FF1D5FF81E}"/>
              </a:ext>
            </a:extLst>
          </p:cNvPr>
          <p:cNvSpPr/>
          <p:nvPr/>
        </p:nvSpPr>
        <p:spPr>
          <a:xfrm>
            <a:off x="9040877" y="1088449"/>
            <a:ext cx="24064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$8,1Bn </a:t>
            </a:r>
            <a:r>
              <a:rPr lang="es-ES" sz="2400" b="1" dirty="0" err="1">
                <a:solidFill>
                  <a:schemeClr val="bg1"/>
                </a:solidFill>
                <a:latin typeface="Avenir Black" charset="0"/>
              </a:rPr>
              <a:t>Opex</a:t>
            </a:r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 </a:t>
            </a:r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id="{38EA7B46-6902-4C24-8BFF-FEBC03A9B473}"/>
              </a:ext>
            </a:extLst>
          </p:cNvPr>
          <p:cNvSpPr/>
          <p:nvPr/>
        </p:nvSpPr>
        <p:spPr>
          <a:xfrm>
            <a:off x="9040877" y="1906934"/>
            <a:ext cx="24064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$1,3Bn </a:t>
            </a:r>
            <a:r>
              <a:rPr lang="es-ES" sz="2400" b="1" dirty="0" err="1">
                <a:solidFill>
                  <a:schemeClr val="bg1"/>
                </a:solidFill>
                <a:latin typeface="Avenir Black" charset="0"/>
              </a:rPr>
              <a:t>Equity</a:t>
            </a:r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 </a:t>
            </a:r>
          </a:p>
        </p:txBody>
      </p:sp>
      <p:sp>
        <p:nvSpPr>
          <p:cNvPr id="65" name="Rectángulo 64">
            <a:extLst>
              <a:ext uri="{FF2B5EF4-FFF2-40B4-BE49-F238E27FC236}">
                <a16:creationId xmlns:a16="http://schemas.microsoft.com/office/drawing/2014/main" id="{C938877E-91AE-4F53-A884-DE690294546C}"/>
              </a:ext>
            </a:extLst>
          </p:cNvPr>
          <p:cNvSpPr/>
          <p:nvPr/>
        </p:nvSpPr>
        <p:spPr>
          <a:xfrm>
            <a:off x="9042234" y="2601843"/>
            <a:ext cx="24037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$0,1Bn Deuda </a:t>
            </a:r>
          </a:p>
        </p:txBody>
      </p:sp>
      <p:sp>
        <p:nvSpPr>
          <p:cNvPr id="66" name="Rectángulo 65">
            <a:extLst>
              <a:ext uri="{FF2B5EF4-FFF2-40B4-BE49-F238E27FC236}">
                <a16:creationId xmlns:a16="http://schemas.microsoft.com/office/drawing/2014/main" id="{7B3DC0B8-F5F3-4AE2-A00A-4DE821F169F2}"/>
              </a:ext>
            </a:extLst>
          </p:cNvPr>
          <p:cNvSpPr/>
          <p:nvPr/>
        </p:nvSpPr>
        <p:spPr>
          <a:xfrm>
            <a:off x="9036257" y="3308923"/>
            <a:ext cx="241573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400" b="1">
                <a:solidFill>
                  <a:schemeClr val="bg1"/>
                </a:solidFill>
                <a:latin typeface="Avenir Black" charset="0"/>
              </a:rPr>
              <a:t>$0,03Bn </a:t>
            </a:r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Desembolsos </a:t>
            </a:r>
          </a:p>
        </p:txBody>
      </p:sp>
      <p:sp>
        <p:nvSpPr>
          <p:cNvPr id="79" name="Rectángulo 78"/>
          <p:cNvSpPr/>
          <p:nvPr/>
        </p:nvSpPr>
        <p:spPr>
          <a:xfrm rot="2700000">
            <a:off x="4116067" y="269135"/>
            <a:ext cx="270384" cy="2703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8" name="CuadroTexto 17"/>
          <p:cNvSpPr txBox="1"/>
          <p:nvPr/>
        </p:nvSpPr>
        <p:spPr>
          <a:xfrm>
            <a:off x="4385753" y="910775"/>
            <a:ext cx="339702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2800" b="1" dirty="0">
                <a:latin typeface="Avenir Black" charset="0"/>
                <a:ea typeface="Avenir Black" charset="0"/>
                <a:cs typeface="Avenir Black" charset="0"/>
              </a:rPr>
              <a:t>Proyectos con baja</a:t>
            </a:r>
          </a:p>
          <a:p>
            <a:r>
              <a:rPr lang="es-ES_tradnl" sz="2800" b="1" dirty="0">
                <a:latin typeface="Avenir Black" charset="0"/>
                <a:ea typeface="Avenir Black" charset="0"/>
                <a:cs typeface="Avenir Black" charset="0"/>
              </a:rPr>
              <a:t>ejecución</a:t>
            </a:r>
          </a:p>
        </p:txBody>
      </p:sp>
      <p:sp>
        <p:nvSpPr>
          <p:cNvPr id="21" name="CuadroTexto 20"/>
          <p:cNvSpPr txBox="1"/>
          <p:nvPr/>
        </p:nvSpPr>
        <p:spPr>
          <a:xfrm>
            <a:off x="4468241" y="146466"/>
            <a:ext cx="68480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4400" b="1" dirty="0">
                <a:latin typeface="Avenir Black" charset="0"/>
                <a:ea typeface="Avenir Black" charset="0"/>
                <a:cs typeface="Avenir Black" charset="0"/>
              </a:rPr>
              <a:t>3.</a:t>
            </a:r>
          </a:p>
        </p:txBody>
      </p:sp>
      <p:cxnSp>
        <p:nvCxnSpPr>
          <p:cNvPr id="80" name="Conector recto 79"/>
          <p:cNvCxnSpPr/>
          <p:nvPr/>
        </p:nvCxnSpPr>
        <p:spPr>
          <a:xfrm>
            <a:off x="9278565" y="899054"/>
            <a:ext cx="193111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 recto 80"/>
          <p:cNvCxnSpPr/>
          <p:nvPr/>
        </p:nvCxnSpPr>
        <p:spPr>
          <a:xfrm>
            <a:off x="9278565" y="1743408"/>
            <a:ext cx="193111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ector recto 81"/>
          <p:cNvCxnSpPr/>
          <p:nvPr/>
        </p:nvCxnSpPr>
        <p:spPr>
          <a:xfrm>
            <a:off x="9278565" y="2464897"/>
            <a:ext cx="193111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ector recto 82"/>
          <p:cNvCxnSpPr/>
          <p:nvPr/>
        </p:nvCxnSpPr>
        <p:spPr>
          <a:xfrm>
            <a:off x="9278565" y="3169222"/>
            <a:ext cx="193111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CuadroTexto 85">
            <a:extLst>
              <a:ext uri="{FF2B5EF4-FFF2-40B4-BE49-F238E27FC236}">
                <a16:creationId xmlns:a16="http://schemas.microsoft.com/office/drawing/2014/main" id="{F27D9C9F-CBAD-49DF-8122-E02B0B1DA67C}"/>
              </a:ext>
            </a:extLst>
          </p:cNvPr>
          <p:cNvSpPr txBox="1"/>
          <p:nvPr/>
        </p:nvSpPr>
        <p:spPr>
          <a:xfrm>
            <a:off x="4584273" y="2650419"/>
            <a:ext cx="347564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2000" dirty="0">
                <a:latin typeface="Avenir Black" charset="0"/>
                <a:ea typeface="Avenir Black" charset="0"/>
                <a:cs typeface="Avenir Black" charset="0"/>
              </a:rPr>
              <a:t>Magdalena 2</a:t>
            </a:r>
          </a:p>
          <a:p>
            <a:pPr>
              <a:defRPr/>
            </a:pPr>
            <a:endParaRPr lang="es-ES_tradnl" sz="2000" dirty="0">
              <a:latin typeface="Avenir Black" charset="0"/>
              <a:ea typeface="Avenir Black" charset="0"/>
              <a:cs typeface="Avenir Black" charset="0"/>
            </a:endParaRPr>
          </a:p>
          <a:p>
            <a:pPr>
              <a:defRPr/>
            </a:pPr>
            <a:r>
              <a:rPr lang="es-ES_tradnl" sz="2000" dirty="0">
                <a:latin typeface="Avenir Black" charset="0"/>
                <a:ea typeface="Avenir Black" charset="0"/>
                <a:cs typeface="Avenir Black" charset="0"/>
              </a:rPr>
              <a:t>Mar 2</a:t>
            </a:r>
          </a:p>
          <a:p>
            <a:pPr>
              <a:defRPr/>
            </a:pPr>
            <a:endParaRPr lang="es-ES_tradnl" sz="2000" dirty="0">
              <a:latin typeface="Avenir Black" charset="0"/>
              <a:ea typeface="Avenir Black" charset="0"/>
              <a:cs typeface="Avenir Black" charset="0"/>
            </a:endParaRPr>
          </a:p>
          <a:p>
            <a:pPr>
              <a:defRPr/>
            </a:pPr>
            <a:r>
              <a:rPr lang="es-ES_tradnl" sz="2000" dirty="0">
                <a:latin typeface="Avenir Black" charset="0"/>
                <a:ea typeface="Avenir Black" charset="0"/>
                <a:cs typeface="Avenir Black" charset="0"/>
              </a:rPr>
              <a:t>Santana-Mocoa-Neiva</a:t>
            </a:r>
          </a:p>
          <a:p>
            <a:pPr>
              <a:defRPr/>
            </a:pPr>
            <a:endParaRPr lang="es-ES_tradnl" sz="2000" dirty="0">
              <a:latin typeface="Avenir Black" charset="0"/>
              <a:ea typeface="Avenir Black" charset="0"/>
              <a:cs typeface="Avenir Black" charset="0"/>
            </a:endParaRPr>
          </a:p>
          <a:p>
            <a:pPr>
              <a:defRPr/>
            </a:pPr>
            <a:r>
              <a:rPr lang="es-ES_tradnl" sz="2000" dirty="0" err="1">
                <a:latin typeface="Avenir Black" charset="0"/>
                <a:ea typeface="Avenir Black" charset="0"/>
                <a:cs typeface="Avenir Black" charset="0"/>
              </a:rPr>
              <a:t>Accenorte</a:t>
            </a:r>
            <a:endParaRPr lang="es-ES_tradnl" sz="2000" dirty="0">
              <a:latin typeface="Avenir Black" charset="0"/>
              <a:ea typeface="Avenir Black" charset="0"/>
              <a:cs typeface="Avenir Black" charset="0"/>
            </a:endParaRPr>
          </a:p>
          <a:p>
            <a:pPr>
              <a:defRPr/>
            </a:pPr>
            <a:endParaRPr lang="es-ES_tradnl" sz="2000" dirty="0">
              <a:latin typeface="Avenir Black" charset="0"/>
              <a:ea typeface="Avenir Black" charset="0"/>
              <a:cs typeface="Avenir Black" charset="0"/>
            </a:endParaRPr>
          </a:p>
          <a:p>
            <a:pPr>
              <a:defRPr/>
            </a:pPr>
            <a:r>
              <a:rPr lang="es-ES_tradnl" sz="2000" dirty="0">
                <a:latin typeface="Avenir Black" charset="0"/>
                <a:ea typeface="Avenir Black" charset="0"/>
                <a:cs typeface="Avenir Black" charset="0"/>
              </a:rPr>
              <a:t>Vías del </a:t>
            </a:r>
            <a:r>
              <a:rPr lang="es-ES_tradnl" sz="2000" dirty="0" err="1">
                <a:latin typeface="Avenir Black" charset="0"/>
                <a:ea typeface="Avenir Black" charset="0"/>
                <a:cs typeface="Avenir Black" charset="0"/>
              </a:rPr>
              <a:t>Nus</a:t>
            </a:r>
            <a:endParaRPr lang="es-ES_tradnl" sz="2000" dirty="0">
              <a:latin typeface="Avenir Black" charset="0"/>
              <a:ea typeface="Avenir Black" charset="0"/>
              <a:cs typeface="Avenir Black" charset="0"/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03A06721-F956-41A7-B639-5A6AA259B09C}"/>
              </a:ext>
            </a:extLst>
          </p:cNvPr>
          <p:cNvSpPr txBox="1"/>
          <p:nvPr/>
        </p:nvSpPr>
        <p:spPr>
          <a:xfrm>
            <a:off x="448289" y="1883749"/>
            <a:ext cx="3498073" cy="28007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_tradnl" sz="4400" dirty="0">
                <a:solidFill>
                  <a:srgbClr val="173A6F"/>
                </a:solidFill>
                <a:latin typeface="Avenir Roman"/>
                <a:ea typeface="Arial" charset="0"/>
                <a:cs typeface="Arial" charset="0"/>
              </a:rPr>
              <a:t>Estado</a:t>
            </a:r>
          </a:p>
          <a:p>
            <a:pPr>
              <a:defRPr/>
            </a:pPr>
            <a:r>
              <a:rPr lang="es-ES_tradnl" sz="4400" dirty="0">
                <a:solidFill>
                  <a:srgbClr val="173A6F"/>
                </a:solidFill>
                <a:latin typeface="Avenir Roman"/>
                <a:ea typeface="Arial" charset="0"/>
                <a:cs typeface="Arial" charset="0"/>
              </a:rPr>
              <a:t>actual </a:t>
            </a:r>
          </a:p>
          <a:p>
            <a:pPr>
              <a:defRPr/>
            </a:pPr>
            <a:r>
              <a:rPr lang="es-ES_tradnl" sz="4400" b="1" dirty="0">
                <a:solidFill>
                  <a:srgbClr val="173A6F"/>
                </a:solidFill>
                <a:latin typeface="Avenir Black" charset="0"/>
                <a:ea typeface="Avenir Black" charset="0"/>
                <a:cs typeface="Avenir Black" charset="0"/>
              </a:rPr>
              <a:t>Concesiones</a:t>
            </a:r>
          </a:p>
          <a:p>
            <a:pPr>
              <a:defRPr/>
            </a:pPr>
            <a:r>
              <a:rPr lang="es-ES_tradnl" sz="4400" b="1" dirty="0">
                <a:solidFill>
                  <a:srgbClr val="173A6F"/>
                </a:solidFill>
                <a:latin typeface="Avenir Black" charset="0"/>
                <a:ea typeface="Avenir Black" charset="0"/>
                <a:cs typeface="Avenir Black" charset="0"/>
              </a:rPr>
              <a:t>4G</a:t>
            </a:r>
          </a:p>
        </p:txBody>
      </p:sp>
      <p:sp>
        <p:nvSpPr>
          <p:cNvPr id="26" name="CuadroTexto 25"/>
          <p:cNvSpPr txBox="1"/>
          <p:nvPr/>
        </p:nvSpPr>
        <p:spPr>
          <a:xfrm>
            <a:off x="503197" y="5231957"/>
            <a:ext cx="2450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3200" b="1" dirty="0">
                <a:latin typeface="Avenir Heavy" charset="0"/>
                <a:ea typeface="Avenir Heavy" charset="0"/>
                <a:cs typeface="Avenir Heavy" charset="0"/>
              </a:rPr>
              <a:t>5 proyectos</a:t>
            </a:r>
          </a:p>
        </p:txBody>
      </p:sp>
      <p:sp>
        <p:nvSpPr>
          <p:cNvPr id="28" name="Triángulo 27"/>
          <p:cNvSpPr/>
          <p:nvPr/>
        </p:nvSpPr>
        <p:spPr>
          <a:xfrm rot="10800000">
            <a:off x="617497" y="4606532"/>
            <a:ext cx="274123" cy="189395"/>
          </a:xfrm>
          <a:prstGeom prst="triangle">
            <a:avLst/>
          </a:prstGeom>
          <a:solidFill>
            <a:srgbClr val="E65E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3530963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ángulo 74"/>
          <p:cNvSpPr/>
          <p:nvPr/>
        </p:nvSpPr>
        <p:spPr>
          <a:xfrm>
            <a:off x="4235270" y="0"/>
            <a:ext cx="399981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1" name="Rectángulo 10"/>
          <p:cNvSpPr/>
          <p:nvPr/>
        </p:nvSpPr>
        <p:spPr>
          <a:xfrm>
            <a:off x="8197450" y="0"/>
            <a:ext cx="3994550" cy="6858000"/>
          </a:xfrm>
          <a:prstGeom prst="rect">
            <a:avLst/>
          </a:prstGeom>
          <a:solidFill>
            <a:srgbClr val="173A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9" name="Rectángulo 18"/>
          <p:cNvSpPr/>
          <p:nvPr/>
        </p:nvSpPr>
        <p:spPr>
          <a:xfrm rot="2700000">
            <a:off x="8052959" y="269135"/>
            <a:ext cx="270384" cy="2703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06657C39-BE06-4427-A7B2-3B9E3A6A6F08}"/>
              </a:ext>
            </a:extLst>
          </p:cNvPr>
          <p:cNvSpPr/>
          <p:nvPr/>
        </p:nvSpPr>
        <p:spPr>
          <a:xfrm>
            <a:off x="2616292" y="1179443"/>
            <a:ext cx="2696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/>
            <a:r>
              <a:rPr lang="es-CO" sz="2400" b="1" dirty="0">
                <a:solidFill>
                  <a:srgbClr val="033C72"/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03A06721-F956-41A7-B639-5A6AA259B09C}"/>
              </a:ext>
            </a:extLst>
          </p:cNvPr>
          <p:cNvSpPr txBox="1"/>
          <p:nvPr/>
        </p:nvSpPr>
        <p:spPr>
          <a:xfrm>
            <a:off x="448289" y="1883749"/>
            <a:ext cx="3498073" cy="28007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s-ES_tradnl" sz="4400" dirty="0">
                <a:solidFill>
                  <a:srgbClr val="173A6F"/>
                </a:solidFill>
                <a:latin typeface="Avenir Roman"/>
                <a:ea typeface="Arial" charset="0"/>
                <a:cs typeface="Arial" charset="0"/>
              </a:rPr>
              <a:t>Estado</a:t>
            </a:r>
          </a:p>
          <a:p>
            <a:pPr>
              <a:defRPr/>
            </a:pPr>
            <a:r>
              <a:rPr lang="es-ES_tradnl" sz="4400" dirty="0">
                <a:solidFill>
                  <a:srgbClr val="173A6F"/>
                </a:solidFill>
                <a:latin typeface="Avenir Roman"/>
                <a:ea typeface="Arial" charset="0"/>
                <a:cs typeface="Arial" charset="0"/>
              </a:rPr>
              <a:t>actual </a:t>
            </a:r>
          </a:p>
          <a:p>
            <a:pPr>
              <a:defRPr/>
            </a:pPr>
            <a:r>
              <a:rPr lang="es-ES_tradnl" sz="4400" b="1" dirty="0">
                <a:solidFill>
                  <a:srgbClr val="173A6F"/>
                </a:solidFill>
                <a:latin typeface="Avenir Black" charset="0"/>
                <a:ea typeface="Avenir Black" charset="0"/>
                <a:cs typeface="Avenir Black" charset="0"/>
              </a:rPr>
              <a:t>Concesiones</a:t>
            </a:r>
          </a:p>
          <a:p>
            <a:pPr>
              <a:defRPr/>
            </a:pPr>
            <a:r>
              <a:rPr lang="es-ES_tradnl" sz="4400" b="1" dirty="0">
                <a:solidFill>
                  <a:srgbClr val="173A6F"/>
                </a:solidFill>
                <a:latin typeface="Avenir Black" charset="0"/>
                <a:ea typeface="Avenir Black" charset="0"/>
                <a:cs typeface="Avenir Black" charset="0"/>
              </a:rPr>
              <a:t>4G</a:t>
            </a: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6AB51598-B80B-4E4A-80FD-A05D74E02993}"/>
              </a:ext>
            </a:extLst>
          </p:cNvPr>
          <p:cNvSpPr/>
          <p:nvPr/>
        </p:nvSpPr>
        <p:spPr>
          <a:xfrm>
            <a:off x="9115224" y="910775"/>
            <a:ext cx="240378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$7,6Bn Capex </a:t>
            </a:r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A23B88B7-C745-4CA8-B3C3-34FF1D5FF81E}"/>
              </a:ext>
            </a:extLst>
          </p:cNvPr>
          <p:cNvSpPr/>
          <p:nvPr/>
        </p:nvSpPr>
        <p:spPr>
          <a:xfrm>
            <a:off x="9113866" y="1681505"/>
            <a:ext cx="24064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$8,1Bn </a:t>
            </a:r>
            <a:r>
              <a:rPr lang="es-ES" sz="2400" b="1" dirty="0" err="1">
                <a:solidFill>
                  <a:schemeClr val="bg1"/>
                </a:solidFill>
                <a:latin typeface="Avenir Black" charset="0"/>
              </a:rPr>
              <a:t>Opex</a:t>
            </a:r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 </a:t>
            </a:r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id="{38EA7B46-6902-4C24-8BFF-FEBC03A9B473}"/>
              </a:ext>
            </a:extLst>
          </p:cNvPr>
          <p:cNvSpPr/>
          <p:nvPr/>
        </p:nvSpPr>
        <p:spPr>
          <a:xfrm>
            <a:off x="9113866" y="2499990"/>
            <a:ext cx="24064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$0,8Bn </a:t>
            </a:r>
            <a:r>
              <a:rPr lang="es-ES" sz="2400" b="1" dirty="0" err="1">
                <a:solidFill>
                  <a:schemeClr val="bg1"/>
                </a:solidFill>
                <a:latin typeface="Avenir Black" charset="0"/>
              </a:rPr>
              <a:t>Equity</a:t>
            </a:r>
            <a:r>
              <a:rPr lang="es-ES" sz="2400" b="1" dirty="0">
                <a:solidFill>
                  <a:schemeClr val="bg1"/>
                </a:solidFill>
                <a:latin typeface="Avenir Black" charset="0"/>
              </a:rPr>
              <a:t> </a:t>
            </a:r>
          </a:p>
        </p:txBody>
      </p:sp>
      <p:sp>
        <p:nvSpPr>
          <p:cNvPr id="79" name="Rectángulo 78"/>
          <p:cNvSpPr/>
          <p:nvPr/>
        </p:nvSpPr>
        <p:spPr>
          <a:xfrm rot="2700000">
            <a:off x="4116067" y="269135"/>
            <a:ext cx="270384" cy="2703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8" name="CuadroTexto 17"/>
          <p:cNvSpPr txBox="1"/>
          <p:nvPr/>
        </p:nvSpPr>
        <p:spPr>
          <a:xfrm>
            <a:off x="4385753" y="910775"/>
            <a:ext cx="355732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2800" b="1" dirty="0">
                <a:latin typeface="Avenir Black" charset="0"/>
                <a:ea typeface="Avenir Black" charset="0"/>
                <a:cs typeface="Avenir Black" charset="0"/>
              </a:rPr>
              <a:t>Proyectos sin iniciar</a:t>
            </a:r>
          </a:p>
          <a:p>
            <a:r>
              <a:rPr lang="es-ES_tradnl" sz="2800" b="1" dirty="0">
                <a:latin typeface="Avenir Black" charset="0"/>
                <a:ea typeface="Avenir Black" charset="0"/>
                <a:cs typeface="Avenir Black" charset="0"/>
              </a:rPr>
              <a:t>construcción</a:t>
            </a:r>
          </a:p>
        </p:txBody>
      </p:sp>
      <p:sp>
        <p:nvSpPr>
          <p:cNvPr id="21" name="CuadroTexto 20"/>
          <p:cNvSpPr txBox="1"/>
          <p:nvPr/>
        </p:nvSpPr>
        <p:spPr>
          <a:xfrm>
            <a:off x="4468241" y="146466"/>
            <a:ext cx="68480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4400" b="1" dirty="0">
                <a:latin typeface="Avenir Black" charset="0"/>
                <a:ea typeface="Avenir Black" charset="0"/>
                <a:cs typeface="Avenir Black" charset="0"/>
              </a:rPr>
              <a:t>4.</a:t>
            </a:r>
          </a:p>
        </p:txBody>
      </p:sp>
      <p:cxnSp>
        <p:nvCxnSpPr>
          <p:cNvPr id="80" name="Conector recto 79"/>
          <p:cNvCxnSpPr/>
          <p:nvPr/>
        </p:nvCxnSpPr>
        <p:spPr>
          <a:xfrm>
            <a:off x="9351554" y="1492110"/>
            <a:ext cx="193111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ector recto 80"/>
          <p:cNvCxnSpPr/>
          <p:nvPr/>
        </p:nvCxnSpPr>
        <p:spPr>
          <a:xfrm>
            <a:off x="9351554" y="2336464"/>
            <a:ext cx="193111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CuadroTexto 85">
            <a:extLst>
              <a:ext uri="{FF2B5EF4-FFF2-40B4-BE49-F238E27FC236}">
                <a16:creationId xmlns:a16="http://schemas.microsoft.com/office/drawing/2014/main" id="{F27D9C9F-CBAD-49DF-8122-E02B0B1DA67C}"/>
              </a:ext>
            </a:extLst>
          </p:cNvPr>
          <p:cNvSpPr txBox="1"/>
          <p:nvPr/>
        </p:nvSpPr>
        <p:spPr>
          <a:xfrm>
            <a:off x="4558780" y="2259858"/>
            <a:ext cx="338429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2000" dirty="0" err="1">
                <a:latin typeface="Avenir Black" charset="0"/>
                <a:ea typeface="Avenir Black" charset="0"/>
                <a:cs typeface="Avenir Black" charset="0"/>
              </a:rPr>
              <a:t>Mulaló</a:t>
            </a:r>
            <a:r>
              <a:rPr lang="es-ES_tradnl" sz="2000" dirty="0">
                <a:latin typeface="Avenir Black" charset="0"/>
                <a:ea typeface="Avenir Black" charset="0"/>
                <a:cs typeface="Avenir Black" charset="0"/>
              </a:rPr>
              <a:t>-Loboguerrero</a:t>
            </a:r>
          </a:p>
          <a:p>
            <a:pPr>
              <a:defRPr/>
            </a:pPr>
            <a:endParaRPr lang="es-ES_tradnl" sz="2000" dirty="0">
              <a:latin typeface="Avenir Black" charset="0"/>
              <a:ea typeface="Avenir Black" charset="0"/>
              <a:cs typeface="Avenir Black" charset="0"/>
            </a:endParaRPr>
          </a:p>
          <a:p>
            <a:pPr>
              <a:defRPr/>
            </a:pPr>
            <a:r>
              <a:rPr lang="es-ES_tradnl" sz="2000" dirty="0">
                <a:latin typeface="Avenir Black" charset="0"/>
                <a:ea typeface="Avenir Black" charset="0"/>
                <a:cs typeface="Avenir Black" charset="0"/>
              </a:rPr>
              <a:t>Popayán-Santander de</a:t>
            </a:r>
          </a:p>
          <a:p>
            <a:pPr>
              <a:defRPr/>
            </a:pPr>
            <a:r>
              <a:rPr lang="es-ES_tradnl" sz="2000" dirty="0">
                <a:latin typeface="Avenir Black" charset="0"/>
                <a:ea typeface="Avenir Black" charset="0"/>
                <a:cs typeface="Avenir Black" charset="0"/>
              </a:rPr>
              <a:t>Quilichao</a:t>
            </a:r>
          </a:p>
          <a:p>
            <a:pPr>
              <a:defRPr/>
            </a:pPr>
            <a:endParaRPr lang="es-ES_tradnl" sz="2000" dirty="0">
              <a:latin typeface="Avenir Black" charset="0"/>
              <a:ea typeface="Avenir Black" charset="0"/>
              <a:cs typeface="Avenir Black" charset="0"/>
            </a:endParaRPr>
          </a:p>
          <a:p>
            <a:pPr>
              <a:defRPr/>
            </a:pPr>
            <a:r>
              <a:rPr lang="es-ES_tradnl" sz="2000" dirty="0">
                <a:latin typeface="Avenir Black" charset="0"/>
                <a:ea typeface="Avenir Black" charset="0"/>
                <a:cs typeface="Avenir Black" charset="0"/>
              </a:rPr>
              <a:t>Bucaramanga-Pamplona</a:t>
            </a:r>
          </a:p>
          <a:p>
            <a:pPr>
              <a:defRPr/>
            </a:pPr>
            <a:endParaRPr lang="es-ES_tradnl" sz="2000" dirty="0">
              <a:latin typeface="Avenir Black" charset="0"/>
              <a:ea typeface="Avenir Black" charset="0"/>
              <a:cs typeface="Avenir Black" charset="0"/>
            </a:endParaRPr>
          </a:p>
          <a:p>
            <a:pPr>
              <a:defRPr/>
            </a:pPr>
            <a:r>
              <a:rPr lang="es-ES_tradnl" sz="2000" dirty="0" err="1">
                <a:latin typeface="Avenir Black" charset="0"/>
                <a:ea typeface="Avenir Black" charset="0"/>
                <a:cs typeface="Avenir Black" charset="0"/>
              </a:rPr>
              <a:t>Cambao</a:t>
            </a:r>
            <a:r>
              <a:rPr lang="es-ES_tradnl" sz="2000" dirty="0">
                <a:latin typeface="Avenir Black" charset="0"/>
                <a:ea typeface="Avenir Black" charset="0"/>
                <a:cs typeface="Avenir Black" charset="0"/>
              </a:rPr>
              <a:t>-Manizales</a:t>
            </a:r>
          </a:p>
          <a:p>
            <a:pPr>
              <a:defRPr/>
            </a:pPr>
            <a:endParaRPr lang="es-ES_tradnl" sz="2000" dirty="0">
              <a:latin typeface="Avenir Black" charset="0"/>
              <a:ea typeface="Avenir Black" charset="0"/>
              <a:cs typeface="Avenir Black" charset="0"/>
            </a:endParaRPr>
          </a:p>
          <a:p>
            <a:pPr>
              <a:defRPr/>
            </a:pPr>
            <a:r>
              <a:rPr lang="es-ES_tradnl" sz="2000" dirty="0">
                <a:latin typeface="Avenir Black" charset="0"/>
                <a:ea typeface="Avenir Black" charset="0"/>
                <a:cs typeface="Avenir Black" charset="0"/>
              </a:rPr>
              <a:t>Malla vial del Meta</a:t>
            </a:r>
          </a:p>
          <a:p>
            <a:pPr>
              <a:defRPr/>
            </a:pPr>
            <a:endParaRPr lang="es-ES_tradnl" sz="2000" dirty="0">
              <a:latin typeface="Avenir Black" charset="0"/>
              <a:ea typeface="Avenir Black" charset="0"/>
              <a:cs typeface="Avenir Black" charset="0"/>
            </a:endParaRPr>
          </a:p>
          <a:p>
            <a:pPr>
              <a:defRPr/>
            </a:pPr>
            <a:r>
              <a:rPr lang="es-ES_tradnl" sz="2000" dirty="0">
                <a:latin typeface="Avenir Black" charset="0"/>
                <a:ea typeface="Avenir Black" charset="0"/>
                <a:cs typeface="Avenir Black" charset="0"/>
              </a:rPr>
              <a:t>Buga-Buenaventura</a:t>
            </a:r>
          </a:p>
        </p:txBody>
      </p:sp>
      <p:sp>
        <p:nvSpPr>
          <p:cNvPr id="22" name="CuadroTexto 21"/>
          <p:cNvSpPr txBox="1"/>
          <p:nvPr/>
        </p:nvSpPr>
        <p:spPr>
          <a:xfrm>
            <a:off x="503197" y="5231957"/>
            <a:ext cx="24503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_tradnl" sz="3200" b="1">
                <a:latin typeface="Avenir Heavy" charset="0"/>
                <a:ea typeface="Avenir Heavy" charset="0"/>
                <a:cs typeface="Avenir Heavy" charset="0"/>
              </a:rPr>
              <a:t>6 proyectos</a:t>
            </a:r>
          </a:p>
        </p:txBody>
      </p:sp>
      <p:sp>
        <p:nvSpPr>
          <p:cNvPr id="2" name="Triángulo 1"/>
          <p:cNvSpPr/>
          <p:nvPr/>
        </p:nvSpPr>
        <p:spPr>
          <a:xfrm rot="10800000">
            <a:off x="617497" y="4606532"/>
            <a:ext cx="274123" cy="189395"/>
          </a:xfrm>
          <a:prstGeom prst="triangle">
            <a:avLst/>
          </a:prstGeom>
          <a:solidFill>
            <a:srgbClr val="E65E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7840177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ZINhujfU6MAa85KtouS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zuJszGIkGAgfOgAhCJb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5ckO2TiU.KVBhPF5X0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PkGicEpUmooZjK8gl92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jax1kIXUqsM5.6cUQfU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ab9mNBH0Gcc7hbKbeCf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heme/theme1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127</TotalTime>
  <Words>864</Words>
  <Application>Microsoft Office PowerPoint</Application>
  <PresentationFormat>Panorámica</PresentationFormat>
  <Paragraphs>261</Paragraphs>
  <Slides>19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1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9</vt:i4>
      </vt:variant>
    </vt:vector>
  </HeadingPairs>
  <TitlesOfParts>
    <vt:vector size="35" baseType="lpstr">
      <vt:lpstr>Arial</vt:lpstr>
      <vt:lpstr>Avenir Black</vt:lpstr>
      <vt:lpstr>Avenir Book</vt:lpstr>
      <vt:lpstr>Avenir Heavy</vt:lpstr>
      <vt:lpstr>Avenir Light</vt:lpstr>
      <vt:lpstr>Avenir Medium</vt:lpstr>
      <vt:lpstr>Avenir Roman</vt:lpstr>
      <vt:lpstr>Calibri</vt:lpstr>
      <vt:lpstr>Calibri Light</vt:lpstr>
      <vt:lpstr>Candara</vt:lpstr>
      <vt:lpstr>Century Gothic</vt:lpstr>
      <vt:lpstr>Helvetica Neue Bold Condensed</vt:lpstr>
      <vt:lpstr>Impact</vt:lpstr>
      <vt:lpstr>Roboto Thin</vt:lpstr>
      <vt:lpstr>Tema de Offic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Usuario de Microsoft Office</dc:creator>
  <cp:lastModifiedBy>Ricardo Aguilera Wilches</cp:lastModifiedBy>
  <cp:revision>83</cp:revision>
  <dcterms:created xsi:type="dcterms:W3CDTF">2018-11-06T19:23:54Z</dcterms:created>
  <dcterms:modified xsi:type="dcterms:W3CDTF">2018-11-16T18:37:39Z</dcterms:modified>
</cp:coreProperties>
</file>